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8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9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0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1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2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6" r:id="rId2"/>
    <p:sldMasterId id="2147483663" r:id="rId3"/>
    <p:sldMasterId id="2147483670" r:id="rId4"/>
    <p:sldMasterId id="2147483698" r:id="rId5"/>
    <p:sldMasterId id="2147483677" r:id="rId6"/>
    <p:sldMasterId id="2147483684" r:id="rId7"/>
    <p:sldMasterId id="2147483691" r:id="rId8"/>
    <p:sldMasterId id="2147483907" r:id="rId9"/>
    <p:sldMasterId id="2147483923" r:id="rId10"/>
    <p:sldMasterId id="2147483939" r:id="rId11"/>
    <p:sldMasterId id="2147483955" r:id="rId12"/>
    <p:sldMasterId id="2147483971" r:id="rId13"/>
  </p:sldMasterIdLst>
  <p:notesMasterIdLst>
    <p:notesMasterId r:id="rId39"/>
  </p:notesMasterIdLst>
  <p:handoutMasterIdLst>
    <p:handoutMasterId r:id="rId40"/>
  </p:handoutMasterIdLst>
  <p:sldIdLst>
    <p:sldId id="256" r:id="rId14"/>
    <p:sldId id="472" r:id="rId15"/>
    <p:sldId id="483" r:id="rId16"/>
    <p:sldId id="484" r:id="rId17"/>
    <p:sldId id="486" r:id="rId18"/>
    <p:sldId id="485" r:id="rId19"/>
    <p:sldId id="506" r:id="rId20"/>
    <p:sldId id="487" r:id="rId21"/>
    <p:sldId id="489" r:id="rId22"/>
    <p:sldId id="490" r:id="rId23"/>
    <p:sldId id="491" r:id="rId24"/>
    <p:sldId id="492" r:id="rId25"/>
    <p:sldId id="493" r:id="rId26"/>
    <p:sldId id="494" r:id="rId27"/>
    <p:sldId id="495" r:id="rId28"/>
    <p:sldId id="496" r:id="rId29"/>
    <p:sldId id="497" r:id="rId30"/>
    <p:sldId id="498" r:id="rId31"/>
    <p:sldId id="500" r:id="rId32"/>
    <p:sldId id="501" r:id="rId33"/>
    <p:sldId id="502" r:id="rId34"/>
    <p:sldId id="503" r:id="rId35"/>
    <p:sldId id="504" r:id="rId36"/>
    <p:sldId id="505" r:id="rId37"/>
    <p:sldId id="479" r:id="rId38"/>
  </p:sldIdLst>
  <p:sldSz cx="9144000" cy="6858000" type="screen4x3"/>
  <p:notesSz cx="6794500" cy="9906000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1F2F"/>
    <a:srgbClr val="1B9C7D"/>
    <a:srgbClr val="FF8F00"/>
    <a:srgbClr val="FFC900"/>
    <a:srgbClr val="E8E8E8"/>
    <a:srgbClr val="B3B3B3"/>
    <a:srgbClr val="00ACD3"/>
    <a:srgbClr val="23AC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8" autoAdjust="0"/>
    <p:restoredTop sz="77024" autoAdjust="0"/>
  </p:normalViewPr>
  <p:slideViewPr>
    <p:cSldViewPr snapToGrid="0">
      <p:cViewPr>
        <p:scale>
          <a:sx n="90" d="100"/>
          <a:sy n="90" d="100"/>
        </p:scale>
        <p:origin x="-1608" y="-72"/>
      </p:cViewPr>
      <p:guideLst>
        <p:guide orient="horz" pos="2744"/>
        <p:guide pos="3176"/>
      </p:guideLst>
    </p:cSldViewPr>
  </p:slideViewPr>
  <p:outlineViewPr>
    <p:cViewPr>
      <p:scale>
        <a:sx n="33" d="100"/>
        <a:sy n="33" d="100"/>
      </p:scale>
      <p:origin x="0" y="8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-4216" y="-96"/>
      </p:cViewPr>
      <p:guideLst>
        <p:guide orient="horz" pos="312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901D97-8090-43F4-8CA3-D7B332B1D56B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8A88056F-97DD-41CD-B2EB-2843EDAF20FB}">
      <dgm:prSet phldrT="[Text]" custT="1"/>
      <dgm:spPr/>
      <dgm:t>
        <a:bodyPr/>
        <a:lstStyle/>
        <a:p>
          <a:r>
            <a:rPr lang="de-DE" sz="1200" dirty="0" smtClean="0">
              <a:latin typeface="Tahoma"/>
              <a:cs typeface="Tahoma"/>
            </a:rPr>
            <a:t>All </a:t>
          </a:r>
          <a:r>
            <a:rPr lang="de-DE" sz="1200" dirty="0" err="1" smtClean="0">
              <a:latin typeface="Tahoma"/>
              <a:cs typeface="Tahoma"/>
            </a:rPr>
            <a:t>federal</a:t>
          </a:r>
          <a:r>
            <a:rPr lang="de-DE" sz="1200" dirty="0" smtClean="0">
              <a:latin typeface="Tahoma"/>
              <a:cs typeface="Tahoma"/>
            </a:rPr>
            <a:t> </a:t>
          </a:r>
          <a:br>
            <a:rPr lang="de-DE" sz="1200" dirty="0" smtClean="0">
              <a:latin typeface="Tahoma"/>
              <a:cs typeface="Tahoma"/>
            </a:rPr>
          </a:br>
          <a:r>
            <a:rPr lang="de-DE" sz="1200" dirty="0" err="1" smtClean="0">
              <a:latin typeface="Tahoma"/>
              <a:cs typeface="Tahoma"/>
            </a:rPr>
            <a:t>public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administration</a:t>
          </a:r>
          <a:r>
            <a:rPr lang="de-DE" sz="1200" dirty="0" smtClean="0">
              <a:latin typeface="Tahoma"/>
              <a:cs typeface="Tahoma"/>
            </a:rPr>
            <a:t> </a:t>
          </a:r>
          <a:br>
            <a:rPr lang="de-DE" sz="1200" dirty="0" smtClean="0">
              <a:latin typeface="Tahoma"/>
              <a:cs typeface="Tahoma"/>
            </a:rPr>
          </a:br>
          <a:r>
            <a:rPr lang="de-DE" sz="1200" dirty="0" err="1" smtClean="0">
              <a:latin typeface="Tahoma"/>
              <a:cs typeface="Tahoma"/>
            </a:rPr>
            <a:t>services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ready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for</a:t>
          </a:r>
          <a:r>
            <a:rPr lang="de-DE" sz="1200" dirty="0" smtClean="0">
              <a:latin typeface="Tahoma"/>
              <a:cs typeface="Tahoma"/>
            </a:rPr>
            <a:t> </a:t>
          </a:r>
          <a:br>
            <a:rPr lang="de-DE" sz="1200" dirty="0" smtClean="0">
              <a:latin typeface="Tahoma"/>
              <a:cs typeface="Tahoma"/>
            </a:rPr>
          </a:br>
          <a:r>
            <a:rPr lang="de-DE" sz="1200" dirty="0" smtClean="0">
              <a:latin typeface="Tahoma"/>
              <a:cs typeface="Tahoma"/>
            </a:rPr>
            <a:t>online </a:t>
          </a:r>
          <a:r>
            <a:rPr lang="de-DE" sz="1200" dirty="0" err="1" smtClean="0">
              <a:latin typeface="Tahoma"/>
              <a:cs typeface="Tahoma"/>
            </a:rPr>
            <a:t>delivery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by</a:t>
          </a:r>
          <a:r>
            <a:rPr lang="de-DE" sz="1200" dirty="0" smtClean="0">
              <a:latin typeface="Tahoma"/>
              <a:cs typeface="Tahoma"/>
            </a:rPr>
            <a:t> 2005</a:t>
          </a:r>
          <a:endParaRPr lang="de-DE" sz="1200" dirty="0"/>
        </a:p>
      </dgm:t>
    </dgm:pt>
    <dgm:pt modelId="{3E0592A9-A66D-4308-BF8A-4337D76FB1D7}" type="parTrans" cxnId="{8EC4DA60-C30D-438D-949E-FC80394F86D9}">
      <dgm:prSet/>
      <dgm:spPr/>
      <dgm:t>
        <a:bodyPr/>
        <a:lstStyle/>
        <a:p>
          <a:endParaRPr lang="de-DE"/>
        </a:p>
      </dgm:t>
    </dgm:pt>
    <dgm:pt modelId="{4695CD0E-22C5-4713-BD2C-A163DB3470BC}" type="sibTrans" cxnId="{8EC4DA60-C30D-438D-949E-FC80394F86D9}">
      <dgm:prSet/>
      <dgm:spPr/>
      <dgm:t>
        <a:bodyPr/>
        <a:lstStyle/>
        <a:p>
          <a:endParaRPr lang="de-DE"/>
        </a:p>
      </dgm:t>
    </dgm:pt>
    <dgm:pt modelId="{938BB01A-8D7D-4589-962F-BB34B664ADE8}">
      <dgm:prSet phldrT="[Text]" custT="1"/>
      <dgm:spPr/>
      <dgm:t>
        <a:bodyPr/>
        <a:lstStyle/>
        <a:p>
          <a:r>
            <a:rPr lang="de-DE" sz="1200" dirty="0" err="1" smtClean="0">
              <a:latin typeface="Tahoma"/>
              <a:cs typeface="Tahoma"/>
            </a:rPr>
            <a:t>Better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cooperation</a:t>
          </a:r>
          <a:endParaRPr lang="de-DE" sz="1200" dirty="0" smtClean="0">
            <a:latin typeface="Tahoma"/>
            <a:cs typeface="Tahoma"/>
          </a:endParaRPr>
        </a:p>
        <a:p>
          <a:r>
            <a:rPr lang="de-DE" sz="1200" dirty="0" err="1" smtClean="0">
              <a:latin typeface="Tahoma"/>
              <a:cs typeface="Tahoma"/>
            </a:rPr>
            <a:t>between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federal</a:t>
          </a:r>
          <a:r>
            <a:rPr lang="de-DE" sz="1200" dirty="0" smtClean="0">
              <a:latin typeface="Tahoma"/>
              <a:cs typeface="Tahoma"/>
            </a:rPr>
            <a:t> </a:t>
          </a:r>
          <a:br>
            <a:rPr lang="de-DE" sz="1200" dirty="0" smtClean="0">
              <a:latin typeface="Tahoma"/>
              <a:cs typeface="Tahoma"/>
            </a:rPr>
          </a:br>
          <a:r>
            <a:rPr lang="de-DE" sz="1200" dirty="0" err="1" smtClean="0">
              <a:latin typeface="Tahoma"/>
              <a:cs typeface="Tahoma"/>
            </a:rPr>
            <a:t>Government</a:t>
          </a:r>
          <a:r>
            <a:rPr lang="de-DE" sz="1200" dirty="0" smtClean="0">
              <a:latin typeface="Tahoma"/>
              <a:cs typeface="Tahoma"/>
            </a:rPr>
            <a:t>, </a:t>
          </a:r>
          <a:br>
            <a:rPr lang="de-DE" sz="1200" dirty="0" smtClean="0">
              <a:latin typeface="Tahoma"/>
              <a:cs typeface="Tahoma"/>
            </a:rPr>
          </a:br>
          <a:r>
            <a:rPr lang="de-DE" sz="1200" dirty="0" smtClean="0">
              <a:latin typeface="Tahoma"/>
              <a:cs typeface="Tahoma"/>
            </a:rPr>
            <a:t>Federal States </a:t>
          </a:r>
          <a:br>
            <a:rPr lang="de-DE" sz="1200" dirty="0" smtClean="0">
              <a:latin typeface="Tahoma"/>
              <a:cs typeface="Tahoma"/>
            </a:rPr>
          </a:br>
          <a:r>
            <a:rPr lang="de-DE" sz="1200" dirty="0" err="1" smtClean="0">
              <a:latin typeface="Tahoma"/>
              <a:cs typeface="Tahoma"/>
            </a:rPr>
            <a:t>and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local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authorities</a:t>
          </a:r>
          <a:endParaRPr lang="de-DE" sz="1200" dirty="0"/>
        </a:p>
      </dgm:t>
    </dgm:pt>
    <dgm:pt modelId="{AB739C0B-643C-4CF3-8949-6CC9CF4165B2}" type="parTrans" cxnId="{0F215C9E-D3CF-4E8E-BF48-C63024F83F54}">
      <dgm:prSet/>
      <dgm:spPr/>
      <dgm:t>
        <a:bodyPr/>
        <a:lstStyle/>
        <a:p>
          <a:endParaRPr lang="de-DE"/>
        </a:p>
      </dgm:t>
    </dgm:pt>
    <dgm:pt modelId="{2D18ED67-8C8A-4029-BA2B-1E9E929C3D61}" type="sibTrans" cxnId="{0F215C9E-D3CF-4E8E-BF48-C63024F83F54}">
      <dgm:prSet/>
      <dgm:spPr/>
      <dgm:t>
        <a:bodyPr/>
        <a:lstStyle/>
        <a:p>
          <a:endParaRPr lang="de-DE"/>
        </a:p>
      </dgm:t>
    </dgm:pt>
    <dgm:pt modelId="{48B38EB9-578E-4897-B20C-CEC9E20EAEBF}">
      <dgm:prSet phldrT="[Text]" custT="1"/>
      <dgm:spPr/>
      <dgm:t>
        <a:bodyPr/>
        <a:lstStyle/>
        <a:p>
          <a:r>
            <a:rPr lang="de-DE" sz="1200" dirty="0" smtClean="0">
              <a:latin typeface="Tahoma"/>
              <a:cs typeface="Tahoma"/>
            </a:rPr>
            <a:t>Electronic </a:t>
          </a:r>
          <a:r>
            <a:rPr lang="de-DE" sz="1200" dirty="0" err="1" smtClean="0">
              <a:latin typeface="Tahoma"/>
              <a:cs typeface="Tahoma"/>
            </a:rPr>
            <a:t>collaboration</a:t>
          </a:r>
          <a:r>
            <a:rPr lang="de-DE" sz="1200" dirty="0" smtClean="0">
              <a:latin typeface="Tahoma"/>
              <a:cs typeface="Tahoma"/>
            </a:rPr>
            <a:t> </a:t>
          </a:r>
          <a:br>
            <a:rPr lang="de-DE" sz="1200" dirty="0" smtClean="0">
              <a:latin typeface="Tahoma"/>
              <a:cs typeface="Tahoma"/>
            </a:rPr>
          </a:br>
          <a:r>
            <a:rPr lang="de-DE" sz="1200" dirty="0" err="1" smtClean="0">
              <a:latin typeface="Tahoma"/>
              <a:cs typeface="Tahoma"/>
            </a:rPr>
            <a:t>between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public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administration</a:t>
          </a:r>
          <a:r>
            <a:rPr lang="de-DE" sz="1200" dirty="0" smtClean="0">
              <a:latin typeface="Tahoma"/>
              <a:cs typeface="Tahoma"/>
            </a:rPr>
            <a:t> </a:t>
          </a:r>
          <a:br>
            <a:rPr lang="de-DE" sz="1200" dirty="0" smtClean="0">
              <a:latin typeface="Tahoma"/>
              <a:cs typeface="Tahoma"/>
            </a:rPr>
          </a:br>
          <a:r>
            <a:rPr lang="de-DE" sz="1200" dirty="0" err="1" smtClean="0">
              <a:latin typeface="Tahoma"/>
              <a:cs typeface="Tahoma"/>
            </a:rPr>
            <a:t>and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business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community</a:t>
          </a:r>
          <a:r>
            <a:rPr lang="de-DE" sz="1200" dirty="0" smtClean="0">
              <a:latin typeface="Tahoma"/>
              <a:cs typeface="Tahoma"/>
            </a:rPr>
            <a:t>, </a:t>
          </a:r>
          <a:br>
            <a:rPr lang="de-DE" sz="1200" dirty="0" smtClean="0">
              <a:latin typeface="Tahoma"/>
              <a:cs typeface="Tahoma"/>
            </a:rPr>
          </a:br>
          <a:r>
            <a:rPr lang="de-DE" sz="1200" dirty="0" smtClean="0">
              <a:latin typeface="Tahoma"/>
              <a:cs typeface="Tahoma"/>
            </a:rPr>
            <a:t>electronic </a:t>
          </a:r>
          <a:r>
            <a:rPr lang="de-DE" sz="1200" dirty="0" err="1" smtClean="0">
              <a:latin typeface="Tahoma"/>
              <a:cs typeface="Tahoma"/>
            </a:rPr>
            <a:t>identities</a:t>
          </a:r>
          <a:r>
            <a:rPr lang="de-DE" sz="1200" dirty="0" smtClean="0">
              <a:latin typeface="Tahoma"/>
              <a:cs typeface="Tahoma"/>
            </a:rPr>
            <a:t>, </a:t>
          </a:r>
          <a:r>
            <a:rPr lang="de-DE" sz="1200" dirty="0" err="1" smtClean="0">
              <a:latin typeface="Tahoma"/>
              <a:cs typeface="Tahoma"/>
            </a:rPr>
            <a:t>secure</a:t>
          </a:r>
          <a:r>
            <a:rPr lang="de-DE" sz="1200" dirty="0" smtClean="0">
              <a:latin typeface="Tahoma"/>
              <a:cs typeface="Tahoma"/>
            </a:rPr>
            <a:t> </a:t>
          </a:r>
          <a:br>
            <a:rPr lang="de-DE" sz="1200" dirty="0" smtClean="0">
              <a:latin typeface="Tahoma"/>
              <a:cs typeface="Tahoma"/>
            </a:rPr>
          </a:br>
          <a:r>
            <a:rPr lang="de-DE" sz="1200" dirty="0" err="1" smtClean="0">
              <a:latin typeface="Tahoma"/>
              <a:cs typeface="Tahoma"/>
            </a:rPr>
            <a:t>communication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infrastructures</a:t>
          </a:r>
          <a:endParaRPr lang="de-DE" sz="1200" dirty="0"/>
        </a:p>
      </dgm:t>
    </dgm:pt>
    <dgm:pt modelId="{2B4AC4DE-8966-47F7-8630-6CF411BAFB6B}" type="parTrans" cxnId="{2AD22D96-657D-4548-B7B5-1D94854AFBC8}">
      <dgm:prSet/>
      <dgm:spPr/>
      <dgm:t>
        <a:bodyPr/>
        <a:lstStyle/>
        <a:p>
          <a:endParaRPr lang="de-DE"/>
        </a:p>
      </dgm:t>
    </dgm:pt>
    <dgm:pt modelId="{6289FE17-84D7-4F97-B30B-644815053537}" type="sibTrans" cxnId="{2AD22D96-657D-4548-B7B5-1D94854AFBC8}">
      <dgm:prSet/>
      <dgm:spPr/>
      <dgm:t>
        <a:bodyPr/>
        <a:lstStyle/>
        <a:p>
          <a:endParaRPr lang="de-DE"/>
        </a:p>
      </dgm:t>
    </dgm:pt>
    <dgm:pt modelId="{EB205908-48FE-415B-94DC-DD0F7FDC43F2}">
      <dgm:prSet phldrT="[Text]" custT="1"/>
      <dgm:spPr/>
      <dgm:t>
        <a:bodyPr/>
        <a:lstStyle/>
        <a:p>
          <a:r>
            <a:rPr lang="de-DE" sz="1200" dirty="0" err="1" smtClean="0">
              <a:latin typeface="Tahoma"/>
              <a:cs typeface="Tahoma"/>
            </a:rPr>
            <a:t>Strategy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defined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by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actors</a:t>
          </a:r>
          <a:r>
            <a:rPr lang="de-DE" sz="1200" dirty="0" smtClean="0">
              <a:latin typeface="Tahoma"/>
              <a:cs typeface="Tahoma"/>
            </a:rPr>
            <a:t> on </a:t>
          </a:r>
          <a:r>
            <a:rPr lang="de-DE" sz="1200" dirty="0" err="1" smtClean="0">
              <a:latin typeface="Tahoma"/>
              <a:cs typeface="Tahoma"/>
            </a:rPr>
            <a:t>federal</a:t>
          </a:r>
          <a:r>
            <a:rPr lang="de-DE" sz="1200" dirty="0" smtClean="0">
              <a:latin typeface="Tahoma"/>
              <a:cs typeface="Tahoma"/>
            </a:rPr>
            <a:t>, </a:t>
          </a:r>
          <a:r>
            <a:rPr lang="de-DE" sz="1200" dirty="0" err="1" smtClean="0">
              <a:latin typeface="Tahoma"/>
              <a:cs typeface="Tahoma"/>
            </a:rPr>
            <a:t>state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and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municipal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level</a:t>
          </a:r>
          <a:r>
            <a:rPr lang="de-DE" sz="1200" dirty="0" smtClean="0">
              <a:latin typeface="Tahoma"/>
              <a:cs typeface="Tahoma"/>
            </a:rPr>
            <a:t>, </a:t>
          </a:r>
          <a:r>
            <a:rPr lang="de-DE" sz="1200" dirty="0" err="1" smtClean="0">
              <a:latin typeface="Tahoma"/>
              <a:cs typeface="Tahoma"/>
            </a:rPr>
            <a:t>goal</a:t>
          </a:r>
          <a:r>
            <a:rPr lang="de-DE" sz="1200" dirty="0" smtClean="0">
              <a:latin typeface="Tahoma"/>
              <a:cs typeface="Tahoma"/>
            </a:rPr>
            <a:t>: </a:t>
          </a:r>
          <a:r>
            <a:rPr lang="de-DE" sz="1200" dirty="0" err="1" smtClean="0">
              <a:latin typeface="Tahoma"/>
              <a:cs typeface="Tahoma"/>
            </a:rPr>
            <a:t>leading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eGovernment</a:t>
          </a:r>
          <a:r>
            <a:rPr lang="de-DE" sz="1200" dirty="0" smtClean="0">
              <a:latin typeface="Tahoma"/>
              <a:cs typeface="Tahoma"/>
            </a:rPr>
            <a:t> </a:t>
          </a:r>
          <a:r>
            <a:rPr lang="de-DE" sz="1200" dirty="0" err="1" smtClean="0">
              <a:latin typeface="Tahoma"/>
              <a:cs typeface="Tahoma"/>
            </a:rPr>
            <a:t>position</a:t>
          </a:r>
          <a:r>
            <a:rPr lang="de-DE" sz="1200" dirty="0" smtClean="0">
              <a:latin typeface="Tahoma"/>
              <a:cs typeface="Tahoma"/>
            </a:rPr>
            <a:t> in Europe </a:t>
          </a:r>
          <a:r>
            <a:rPr lang="de-DE" sz="1200" dirty="0" err="1" smtClean="0">
              <a:latin typeface="Tahoma"/>
              <a:cs typeface="Tahoma"/>
            </a:rPr>
            <a:t>by</a:t>
          </a:r>
          <a:r>
            <a:rPr lang="de-DE" sz="1200" dirty="0" smtClean="0">
              <a:latin typeface="Tahoma"/>
              <a:cs typeface="Tahoma"/>
            </a:rPr>
            <a:t> 2015 </a:t>
          </a:r>
          <a:endParaRPr lang="de-DE" sz="1200" dirty="0"/>
        </a:p>
      </dgm:t>
    </dgm:pt>
    <dgm:pt modelId="{EC602A39-DCF7-464D-9924-9720BF9E69A8}" type="parTrans" cxnId="{F3758B9F-76C3-40FF-859B-04439CD76287}">
      <dgm:prSet/>
      <dgm:spPr/>
      <dgm:t>
        <a:bodyPr/>
        <a:lstStyle/>
        <a:p>
          <a:endParaRPr lang="de-DE"/>
        </a:p>
      </dgm:t>
    </dgm:pt>
    <dgm:pt modelId="{99D40A05-6D78-488D-A2E8-10B41432DECA}" type="sibTrans" cxnId="{F3758B9F-76C3-40FF-859B-04439CD76287}">
      <dgm:prSet/>
      <dgm:spPr/>
      <dgm:t>
        <a:bodyPr/>
        <a:lstStyle/>
        <a:p>
          <a:endParaRPr lang="de-DE"/>
        </a:p>
      </dgm:t>
    </dgm:pt>
    <dgm:pt modelId="{AACB2299-23E3-432F-A74E-B192FEA7601D}" type="pres">
      <dgm:prSet presAssocID="{F0901D97-8090-43F4-8CA3-D7B332B1D56B}" presName="arrowDiagram" presStyleCnt="0">
        <dgm:presLayoutVars>
          <dgm:chMax val="5"/>
          <dgm:dir/>
          <dgm:resizeHandles val="exact"/>
        </dgm:presLayoutVars>
      </dgm:prSet>
      <dgm:spPr/>
    </dgm:pt>
    <dgm:pt modelId="{CA1316E8-70A7-4496-80F1-E6EA0B0F4EE0}" type="pres">
      <dgm:prSet presAssocID="{F0901D97-8090-43F4-8CA3-D7B332B1D56B}" presName="arrow" presStyleLbl="bgShp" presStyleIdx="0" presStyleCnt="1" custLinFactNeighborX="250" custLinFactNeighborY="3333"/>
      <dgm:spPr/>
      <dgm:t>
        <a:bodyPr/>
        <a:lstStyle/>
        <a:p>
          <a:endParaRPr lang="de-DE"/>
        </a:p>
      </dgm:t>
    </dgm:pt>
    <dgm:pt modelId="{43219C3A-D303-473C-84A8-09242C2B716C}" type="pres">
      <dgm:prSet presAssocID="{F0901D97-8090-43F4-8CA3-D7B332B1D56B}" presName="arrowDiagram4" presStyleCnt="0"/>
      <dgm:spPr/>
    </dgm:pt>
    <dgm:pt modelId="{5B3CA600-217C-412B-A29C-0BBB6FF6ED84}" type="pres">
      <dgm:prSet presAssocID="{8A88056F-97DD-41CD-B2EB-2843EDAF20FB}" presName="bullet4a" presStyleLbl="node1" presStyleIdx="0" presStyleCnt="4"/>
      <dgm:spPr/>
    </dgm:pt>
    <dgm:pt modelId="{4146BF24-FFB7-4F35-B17E-6330C8A591E2}" type="pres">
      <dgm:prSet presAssocID="{8A88056F-97DD-41CD-B2EB-2843EDAF20FB}" presName="textBox4a" presStyleLbl="revTx" presStyleIdx="0" presStyleCnt="4" custScaleX="122222" custLinFactNeighborX="764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EE1867B-E7C1-469C-A6E0-47F383E367B4}" type="pres">
      <dgm:prSet presAssocID="{938BB01A-8D7D-4589-962F-BB34B664ADE8}" presName="bullet4b" presStyleLbl="node1" presStyleIdx="1" presStyleCnt="4"/>
      <dgm:spPr/>
    </dgm:pt>
    <dgm:pt modelId="{89D4E512-E3A9-413A-9AD6-A9C7FD2109B6}" type="pres">
      <dgm:prSet presAssocID="{938BB01A-8D7D-4589-962F-BB34B664ADE8}" presName="textBox4b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5B969BD-67AA-4456-B5C4-6C6E735B577D}" type="pres">
      <dgm:prSet presAssocID="{48B38EB9-578E-4897-B20C-CEC9E20EAEBF}" presName="bullet4c" presStyleLbl="node1" presStyleIdx="2" presStyleCnt="4"/>
      <dgm:spPr/>
    </dgm:pt>
    <dgm:pt modelId="{A08991E8-5DFE-4FBD-ADB5-E5E401CCD901}" type="pres">
      <dgm:prSet presAssocID="{48B38EB9-578E-4897-B20C-CEC9E20EAEBF}" presName="textBox4c" presStyleLbl="revTx" presStyleIdx="2" presStyleCnt="4" custScaleX="115909" custLinFactNeighborX="311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C40CBF3-1619-4865-A104-AB03AF27C57A}" type="pres">
      <dgm:prSet presAssocID="{EB205908-48FE-415B-94DC-DD0F7FDC43F2}" presName="bullet4d" presStyleLbl="node1" presStyleIdx="3" presStyleCnt="4"/>
      <dgm:spPr/>
    </dgm:pt>
    <dgm:pt modelId="{65D86A93-CC66-498F-A4E5-3B1AD233983F}" type="pres">
      <dgm:prSet presAssocID="{EB205908-48FE-415B-94DC-DD0F7FDC43F2}" presName="textBox4d" presStyleLbl="revTx" presStyleIdx="3" presStyleCnt="4" custScaleX="10422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AD22D96-657D-4548-B7B5-1D94854AFBC8}" srcId="{F0901D97-8090-43F4-8CA3-D7B332B1D56B}" destId="{48B38EB9-578E-4897-B20C-CEC9E20EAEBF}" srcOrd="2" destOrd="0" parTransId="{2B4AC4DE-8966-47F7-8630-6CF411BAFB6B}" sibTransId="{6289FE17-84D7-4F97-B30B-644815053537}"/>
    <dgm:cxn modelId="{D1465619-E1EC-447D-A84E-395FF34CB583}" type="presOf" srcId="{EB205908-48FE-415B-94DC-DD0F7FDC43F2}" destId="{65D86A93-CC66-498F-A4E5-3B1AD233983F}" srcOrd="0" destOrd="0" presId="urn:microsoft.com/office/officeart/2005/8/layout/arrow2"/>
    <dgm:cxn modelId="{9410953C-0F18-49CD-A4F6-FEB5A54A12A2}" type="presOf" srcId="{48B38EB9-578E-4897-B20C-CEC9E20EAEBF}" destId="{A08991E8-5DFE-4FBD-ADB5-E5E401CCD901}" srcOrd="0" destOrd="0" presId="urn:microsoft.com/office/officeart/2005/8/layout/arrow2"/>
    <dgm:cxn modelId="{BB41D55E-EF82-4502-B00C-B43A76DDE896}" type="presOf" srcId="{F0901D97-8090-43F4-8CA3-D7B332B1D56B}" destId="{AACB2299-23E3-432F-A74E-B192FEA7601D}" srcOrd="0" destOrd="0" presId="urn:microsoft.com/office/officeart/2005/8/layout/arrow2"/>
    <dgm:cxn modelId="{8C14EE50-4F66-4A86-BE8B-C24E309106B4}" type="presOf" srcId="{8A88056F-97DD-41CD-B2EB-2843EDAF20FB}" destId="{4146BF24-FFB7-4F35-B17E-6330C8A591E2}" srcOrd="0" destOrd="0" presId="urn:microsoft.com/office/officeart/2005/8/layout/arrow2"/>
    <dgm:cxn modelId="{0F215C9E-D3CF-4E8E-BF48-C63024F83F54}" srcId="{F0901D97-8090-43F4-8CA3-D7B332B1D56B}" destId="{938BB01A-8D7D-4589-962F-BB34B664ADE8}" srcOrd="1" destOrd="0" parTransId="{AB739C0B-643C-4CF3-8949-6CC9CF4165B2}" sibTransId="{2D18ED67-8C8A-4029-BA2B-1E9E929C3D61}"/>
    <dgm:cxn modelId="{9F711EE5-CC24-4C46-8AE5-07DFC89130E4}" type="presOf" srcId="{938BB01A-8D7D-4589-962F-BB34B664ADE8}" destId="{89D4E512-E3A9-413A-9AD6-A9C7FD2109B6}" srcOrd="0" destOrd="0" presId="urn:microsoft.com/office/officeart/2005/8/layout/arrow2"/>
    <dgm:cxn modelId="{8EC4DA60-C30D-438D-949E-FC80394F86D9}" srcId="{F0901D97-8090-43F4-8CA3-D7B332B1D56B}" destId="{8A88056F-97DD-41CD-B2EB-2843EDAF20FB}" srcOrd="0" destOrd="0" parTransId="{3E0592A9-A66D-4308-BF8A-4337D76FB1D7}" sibTransId="{4695CD0E-22C5-4713-BD2C-A163DB3470BC}"/>
    <dgm:cxn modelId="{F3758B9F-76C3-40FF-859B-04439CD76287}" srcId="{F0901D97-8090-43F4-8CA3-D7B332B1D56B}" destId="{EB205908-48FE-415B-94DC-DD0F7FDC43F2}" srcOrd="3" destOrd="0" parTransId="{EC602A39-DCF7-464D-9924-9720BF9E69A8}" sibTransId="{99D40A05-6D78-488D-A2E8-10B41432DECA}"/>
    <dgm:cxn modelId="{0A4B800C-DE9F-4AC3-9B56-1A5034C595D0}" type="presParOf" srcId="{AACB2299-23E3-432F-A74E-B192FEA7601D}" destId="{CA1316E8-70A7-4496-80F1-E6EA0B0F4EE0}" srcOrd="0" destOrd="0" presId="urn:microsoft.com/office/officeart/2005/8/layout/arrow2"/>
    <dgm:cxn modelId="{EC9E9D25-85A1-45F1-9902-9C14821CBE28}" type="presParOf" srcId="{AACB2299-23E3-432F-A74E-B192FEA7601D}" destId="{43219C3A-D303-473C-84A8-09242C2B716C}" srcOrd="1" destOrd="0" presId="urn:microsoft.com/office/officeart/2005/8/layout/arrow2"/>
    <dgm:cxn modelId="{C48736FA-FB20-4CED-9700-2D59E4CFBAC9}" type="presParOf" srcId="{43219C3A-D303-473C-84A8-09242C2B716C}" destId="{5B3CA600-217C-412B-A29C-0BBB6FF6ED84}" srcOrd="0" destOrd="0" presId="urn:microsoft.com/office/officeart/2005/8/layout/arrow2"/>
    <dgm:cxn modelId="{D722A257-694C-4FF7-86F5-2F1E6E06521D}" type="presParOf" srcId="{43219C3A-D303-473C-84A8-09242C2B716C}" destId="{4146BF24-FFB7-4F35-B17E-6330C8A591E2}" srcOrd="1" destOrd="0" presId="urn:microsoft.com/office/officeart/2005/8/layout/arrow2"/>
    <dgm:cxn modelId="{5F71A05F-C668-4D04-B64E-F2A2488DCD55}" type="presParOf" srcId="{43219C3A-D303-473C-84A8-09242C2B716C}" destId="{DEE1867B-E7C1-469C-A6E0-47F383E367B4}" srcOrd="2" destOrd="0" presId="urn:microsoft.com/office/officeart/2005/8/layout/arrow2"/>
    <dgm:cxn modelId="{9F40A173-FE9D-4539-97F2-E2FC7C9BA1EA}" type="presParOf" srcId="{43219C3A-D303-473C-84A8-09242C2B716C}" destId="{89D4E512-E3A9-413A-9AD6-A9C7FD2109B6}" srcOrd="3" destOrd="0" presId="urn:microsoft.com/office/officeart/2005/8/layout/arrow2"/>
    <dgm:cxn modelId="{6719A55F-B45F-4184-A107-4904432E0BB1}" type="presParOf" srcId="{43219C3A-D303-473C-84A8-09242C2B716C}" destId="{15B969BD-67AA-4456-B5C4-6C6E735B577D}" srcOrd="4" destOrd="0" presId="urn:microsoft.com/office/officeart/2005/8/layout/arrow2"/>
    <dgm:cxn modelId="{AA18CBD1-5015-4E37-AD8B-8E0C0A8AA191}" type="presParOf" srcId="{43219C3A-D303-473C-84A8-09242C2B716C}" destId="{A08991E8-5DFE-4FBD-ADB5-E5E401CCD901}" srcOrd="5" destOrd="0" presId="urn:microsoft.com/office/officeart/2005/8/layout/arrow2"/>
    <dgm:cxn modelId="{2D959999-4576-4F05-9AE7-78B2D4ED3F05}" type="presParOf" srcId="{43219C3A-D303-473C-84A8-09242C2B716C}" destId="{8C40CBF3-1619-4865-A104-AB03AF27C57A}" srcOrd="6" destOrd="0" presId="urn:microsoft.com/office/officeart/2005/8/layout/arrow2"/>
    <dgm:cxn modelId="{AD3B5C2F-C8FF-4576-AA62-2279D2B44C52}" type="presParOf" srcId="{43219C3A-D303-473C-84A8-09242C2B716C}" destId="{65D86A93-CC66-498F-A4E5-3B1AD233983F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52F153-0BB0-4270-97E6-56F0DC629A5A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21452D4D-DD5F-401C-BA0D-D4DC7CD96E0B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9477666C-3ED0-474E-9E9B-CD83A4A282D5}" type="parTrans" cxnId="{9ABFEA4B-AEC6-4938-8DFC-EE81C2F73680}">
      <dgm:prSet/>
      <dgm:spPr/>
      <dgm:t>
        <a:bodyPr/>
        <a:lstStyle/>
        <a:p>
          <a:endParaRPr lang="de-DE"/>
        </a:p>
      </dgm:t>
    </dgm:pt>
    <dgm:pt modelId="{E8C23A7D-5635-4862-9E7D-7D84B664231E}" type="sibTrans" cxnId="{9ABFEA4B-AEC6-4938-8DFC-EE81C2F73680}">
      <dgm:prSet/>
      <dgm:spPr/>
      <dgm:t>
        <a:bodyPr/>
        <a:lstStyle/>
        <a:p>
          <a:endParaRPr lang="de-DE"/>
        </a:p>
      </dgm:t>
    </dgm:pt>
    <dgm:pt modelId="{E715F64B-70A1-423E-BFDE-3EE477B47832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68A1FB1A-6C4E-471B-8399-ABEEF1E7A65F}" type="parTrans" cxnId="{36EDC039-008B-42E5-AEF5-3E0EBD99FE98}">
      <dgm:prSet/>
      <dgm:spPr/>
      <dgm:t>
        <a:bodyPr/>
        <a:lstStyle/>
        <a:p>
          <a:endParaRPr lang="de-DE"/>
        </a:p>
      </dgm:t>
    </dgm:pt>
    <dgm:pt modelId="{70B3477D-0FAB-46AE-B6D1-95FC7228164D}" type="sibTrans" cxnId="{36EDC039-008B-42E5-AEF5-3E0EBD99FE98}">
      <dgm:prSet/>
      <dgm:spPr/>
      <dgm:t>
        <a:bodyPr/>
        <a:lstStyle/>
        <a:p>
          <a:endParaRPr lang="de-DE"/>
        </a:p>
      </dgm:t>
    </dgm:pt>
    <dgm:pt modelId="{FBAC3EE9-C953-452A-890E-63300BAD978C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6A62E370-C275-499B-952E-87FD93040E83}" type="parTrans" cxnId="{18B81EB0-97F1-4336-A9C1-92A4CEFD2FE4}">
      <dgm:prSet/>
      <dgm:spPr/>
      <dgm:t>
        <a:bodyPr/>
        <a:lstStyle/>
        <a:p>
          <a:endParaRPr lang="de-DE"/>
        </a:p>
      </dgm:t>
    </dgm:pt>
    <dgm:pt modelId="{7C644B0C-ABA1-451D-A48E-4ED10003D399}" type="sibTrans" cxnId="{18B81EB0-97F1-4336-A9C1-92A4CEFD2FE4}">
      <dgm:prSet/>
      <dgm:spPr/>
      <dgm:t>
        <a:bodyPr/>
        <a:lstStyle/>
        <a:p>
          <a:endParaRPr lang="de-DE"/>
        </a:p>
      </dgm:t>
    </dgm:pt>
    <dgm:pt modelId="{7C371D95-B74A-4CA2-9C4A-CE163D924D41}" type="pres">
      <dgm:prSet presAssocID="{4B52F153-0BB0-4270-97E6-56F0DC629A5A}" presName="arrowDiagram" presStyleCnt="0">
        <dgm:presLayoutVars>
          <dgm:chMax val="5"/>
          <dgm:dir/>
          <dgm:resizeHandles val="exact"/>
        </dgm:presLayoutVars>
      </dgm:prSet>
      <dgm:spPr/>
    </dgm:pt>
    <dgm:pt modelId="{F262EBC8-00C1-4BC7-B48F-952A2A80F8B3}" type="pres">
      <dgm:prSet presAssocID="{4B52F153-0BB0-4270-97E6-56F0DC629A5A}" presName="arrow" presStyleLbl="bgShp" presStyleIdx="0" presStyleCnt="1"/>
      <dgm:spPr/>
    </dgm:pt>
    <dgm:pt modelId="{E4374E2F-0124-4B7F-AC7C-7C6069D92DE7}" type="pres">
      <dgm:prSet presAssocID="{4B52F153-0BB0-4270-97E6-56F0DC629A5A}" presName="arrowDiagram3" presStyleCnt="0"/>
      <dgm:spPr/>
    </dgm:pt>
    <dgm:pt modelId="{4E6EC2F9-928A-4D2F-A58E-0F096B547CED}" type="pres">
      <dgm:prSet presAssocID="{21452D4D-DD5F-401C-BA0D-D4DC7CD96E0B}" presName="bullet3a" presStyleLbl="node1" presStyleIdx="0" presStyleCnt="3"/>
      <dgm:spPr/>
    </dgm:pt>
    <dgm:pt modelId="{4C5A99BB-3F6A-4965-8162-B60AD6602685}" type="pres">
      <dgm:prSet presAssocID="{21452D4D-DD5F-401C-BA0D-D4DC7CD96E0B}" presName="textBox3a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FDCF6F4-6843-47F8-9966-D03A7D901F0B}" type="pres">
      <dgm:prSet presAssocID="{E715F64B-70A1-423E-BFDE-3EE477B47832}" presName="bullet3b" presStyleLbl="node1" presStyleIdx="1" presStyleCnt="3"/>
      <dgm:spPr/>
    </dgm:pt>
    <dgm:pt modelId="{28BA9960-F5A1-43E9-B064-12FC8CDB01B6}" type="pres">
      <dgm:prSet presAssocID="{E715F64B-70A1-423E-BFDE-3EE477B47832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DDEE6A0-F7D7-4444-9603-C5F94C2D1844}" type="pres">
      <dgm:prSet presAssocID="{FBAC3EE9-C953-452A-890E-63300BAD978C}" presName="bullet3c" presStyleLbl="node1" presStyleIdx="2" presStyleCnt="3"/>
      <dgm:spPr/>
    </dgm:pt>
    <dgm:pt modelId="{003A8CFC-A594-48B3-9722-76201B939E2B}" type="pres">
      <dgm:prSet presAssocID="{FBAC3EE9-C953-452A-890E-63300BAD978C}" presName="textBox3c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8B81EB0-97F1-4336-A9C1-92A4CEFD2FE4}" srcId="{4B52F153-0BB0-4270-97E6-56F0DC629A5A}" destId="{FBAC3EE9-C953-452A-890E-63300BAD978C}" srcOrd="2" destOrd="0" parTransId="{6A62E370-C275-499B-952E-87FD93040E83}" sibTransId="{7C644B0C-ABA1-451D-A48E-4ED10003D399}"/>
    <dgm:cxn modelId="{9ABFEA4B-AEC6-4938-8DFC-EE81C2F73680}" srcId="{4B52F153-0BB0-4270-97E6-56F0DC629A5A}" destId="{21452D4D-DD5F-401C-BA0D-D4DC7CD96E0B}" srcOrd="0" destOrd="0" parTransId="{9477666C-3ED0-474E-9E9B-CD83A4A282D5}" sibTransId="{E8C23A7D-5635-4862-9E7D-7D84B664231E}"/>
    <dgm:cxn modelId="{FF5FD2DB-FCD8-4CF6-B61A-8572E2FA2C2F}" type="presOf" srcId="{21452D4D-DD5F-401C-BA0D-D4DC7CD96E0B}" destId="{4C5A99BB-3F6A-4965-8162-B60AD6602685}" srcOrd="0" destOrd="0" presId="urn:microsoft.com/office/officeart/2005/8/layout/arrow2"/>
    <dgm:cxn modelId="{36EDC039-008B-42E5-AEF5-3E0EBD99FE98}" srcId="{4B52F153-0BB0-4270-97E6-56F0DC629A5A}" destId="{E715F64B-70A1-423E-BFDE-3EE477B47832}" srcOrd="1" destOrd="0" parTransId="{68A1FB1A-6C4E-471B-8399-ABEEF1E7A65F}" sibTransId="{70B3477D-0FAB-46AE-B6D1-95FC7228164D}"/>
    <dgm:cxn modelId="{2F76B137-E004-431A-B34A-9B032D845685}" type="presOf" srcId="{E715F64B-70A1-423E-BFDE-3EE477B47832}" destId="{28BA9960-F5A1-43E9-B064-12FC8CDB01B6}" srcOrd="0" destOrd="0" presId="urn:microsoft.com/office/officeart/2005/8/layout/arrow2"/>
    <dgm:cxn modelId="{7D24630B-4341-43B4-B845-FC9A5F815F8B}" type="presOf" srcId="{FBAC3EE9-C953-452A-890E-63300BAD978C}" destId="{003A8CFC-A594-48B3-9722-76201B939E2B}" srcOrd="0" destOrd="0" presId="urn:microsoft.com/office/officeart/2005/8/layout/arrow2"/>
    <dgm:cxn modelId="{41EF71D6-E120-4779-99B7-0F65086CB376}" type="presOf" srcId="{4B52F153-0BB0-4270-97E6-56F0DC629A5A}" destId="{7C371D95-B74A-4CA2-9C4A-CE163D924D41}" srcOrd="0" destOrd="0" presId="urn:microsoft.com/office/officeart/2005/8/layout/arrow2"/>
    <dgm:cxn modelId="{A1F47413-DA7E-4064-9DF6-F5AEB305D356}" type="presParOf" srcId="{7C371D95-B74A-4CA2-9C4A-CE163D924D41}" destId="{F262EBC8-00C1-4BC7-B48F-952A2A80F8B3}" srcOrd="0" destOrd="0" presId="urn:microsoft.com/office/officeart/2005/8/layout/arrow2"/>
    <dgm:cxn modelId="{36115656-2FD2-4245-9F2B-61EBBB9FA63A}" type="presParOf" srcId="{7C371D95-B74A-4CA2-9C4A-CE163D924D41}" destId="{E4374E2F-0124-4B7F-AC7C-7C6069D92DE7}" srcOrd="1" destOrd="0" presId="urn:microsoft.com/office/officeart/2005/8/layout/arrow2"/>
    <dgm:cxn modelId="{89307757-3BCA-45C9-BF2B-C6968721801B}" type="presParOf" srcId="{E4374E2F-0124-4B7F-AC7C-7C6069D92DE7}" destId="{4E6EC2F9-928A-4D2F-A58E-0F096B547CED}" srcOrd="0" destOrd="0" presId="urn:microsoft.com/office/officeart/2005/8/layout/arrow2"/>
    <dgm:cxn modelId="{0B941EA7-A7D6-4C4C-B397-A63B1A76DAF8}" type="presParOf" srcId="{E4374E2F-0124-4B7F-AC7C-7C6069D92DE7}" destId="{4C5A99BB-3F6A-4965-8162-B60AD6602685}" srcOrd="1" destOrd="0" presId="urn:microsoft.com/office/officeart/2005/8/layout/arrow2"/>
    <dgm:cxn modelId="{62B7AE90-39D9-48B5-A655-202033DFB926}" type="presParOf" srcId="{E4374E2F-0124-4B7F-AC7C-7C6069D92DE7}" destId="{9FDCF6F4-6843-47F8-9966-D03A7D901F0B}" srcOrd="2" destOrd="0" presId="urn:microsoft.com/office/officeart/2005/8/layout/arrow2"/>
    <dgm:cxn modelId="{C5A7826F-3DDB-4B20-9239-DD371B5F2D7A}" type="presParOf" srcId="{E4374E2F-0124-4B7F-AC7C-7C6069D92DE7}" destId="{28BA9960-F5A1-43E9-B064-12FC8CDB01B6}" srcOrd="3" destOrd="0" presId="urn:microsoft.com/office/officeart/2005/8/layout/arrow2"/>
    <dgm:cxn modelId="{F44AE218-C712-4A7F-9791-DD3072A82339}" type="presParOf" srcId="{E4374E2F-0124-4B7F-AC7C-7C6069D92DE7}" destId="{CDDEE6A0-F7D7-4444-9603-C5F94C2D1844}" srcOrd="4" destOrd="0" presId="urn:microsoft.com/office/officeart/2005/8/layout/arrow2"/>
    <dgm:cxn modelId="{D08C7313-502F-4916-B6C6-B5356BE47ECF}" type="presParOf" srcId="{E4374E2F-0124-4B7F-AC7C-7C6069D92DE7}" destId="{003A8CFC-A594-48B3-9722-76201B939E2B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B52F153-0BB0-4270-97E6-56F0DC629A5A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21452D4D-DD5F-401C-BA0D-D4DC7CD96E0B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9477666C-3ED0-474E-9E9B-CD83A4A282D5}" type="parTrans" cxnId="{9ABFEA4B-AEC6-4938-8DFC-EE81C2F73680}">
      <dgm:prSet/>
      <dgm:spPr/>
      <dgm:t>
        <a:bodyPr/>
        <a:lstStyle/>
        <a:p>
          <a:endParaRPr lang="de-DE"/>
        </a:p>
      </dgm:t>
    </dgm:pt>
    <dgm:pt modelId="{E8C23A7D-5635-4862-9E7D-7D84B664231E}" type="sibTrans" cxnId="{9ABFEA4B-AEC6-4938-8DFC-EE81C2F73680}">
      <dgm:prSet/>
      <dgm:spPr/>
      <dgm:t>
        <a:bodyPr/>
        <a:lstStyle/>
        <a:p>
          <a:endParaRPr lang="de-DE"/>
        </a:p>
      </dgm:t>
    </dgm:pt>
    <dgm:pt modelId="{E715F64B-70A1-423E-BFDE-3EE477B47832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68A1FB1A-6C4E-471B-8399-ABEEF1E7A65F}" type="parTrans" cxnId="{36EDC039-008B-42E5-AEF5-3E0EBD99FE98}">
      <dgm:prSet/>
      <dgm:spPr/>
      <dgm:t>
        <a:bodyPr/>
        <a:lstStyle/>
        <a:p>
          <a:endParaRPr lang="de-DE"/>
        </a:p>
      </dgm:t>
    </dgm:pt>
    <dgm:pt modelId="{70B3477D-0FAB-46AE-B6D1-95FC7228164D}" type="sibTrans" cxnId="{36EDC039-008B-42E5-AEF5-3E0EBD99FE98}">
      <dgm:prSet/>
      <dgm:spPr/>
      <dgm:t>
        <a:bodyPr/>
        <a:lstStyle/>
        <a:p>
          <a:endParaRPr lang="de-DE"/>
        </a:p>
      </dgm:t>
    </dgm:pt>
    <dgm:pt modelId="{FBAC3EE9-C953-452A-890E-63300BAD978C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6A62E370-C275-499B-952E-87FD93040E83}" type="parTrans" cxnId="{18B81EB0-97F1-4336-A9C1-92A4CEFD2FE4}">
      <dgm:prSet/>
      <dgm:spPr/>
      <dgm:t>
        <a:bodyPr/>
        <a:lstStyle/>
        <a:p>
          <a:endParaRPr lang="de-DE"/>
        </a:p>
      </dgm:t>
    </dgm:pt>
    <dgm:pt modelId="{7C644B0C-ABA1-451D-A48E-4ED10003D399}" type="sibTrans" cxnId="{18B81EB0-97F1-4336-A9C1-92A4CEFD2FE4}">
      <dgm:prSet/>
      <dgm:spPr/>
      <dgm:t>
        <a:bodyPr/>
        <a:lstStyle/>
        <a:p>
          <a:endParaRPr lang="de-DE"/>
        </a:p>
      </dgm:t>
    </dgm:pt>
    <dgm:pt modelId="{7C371D95-B74A-4CA2-9C4A-CE163D924D41}" type="pres">
      <dgm:prSet presAssocID="{4B52F153-0BB0-4270-97E6-56F0DC629A5A}" presName="arrowDiagram" presStyleCnt="0">
        <dgm:presLayoutVars>
          <dgm:chMax val="5"/>
          <dgm:dir/>
          <dgm:resizeHandles val="exact"/>
        </dgm:presLayoutVars>
      </dgm:prSet>
      <dgm:spPr/>
    </dgm:pt>
    <dgm:pt modelId="{F262EBC8-00C1-4BC7-B48F-952A2A80F8B3}" type="pres">
      <dgm:prSet presAssocID="{4B52F153-0BB0-4270-97E6-56F0DC629A5A}" presName="arrow" presStyleLbl="bgShp" presStyleIdx="0" presStyleCnt="1"/>
      <dgm:spPr/>
    </dgm:pt>
    <dgm:pt modelId="{E4374E2F-0124-4B7F-AC7C-7C6069D92DE7}" type="pres">
      <dgm:prSet presAssocID="{4B52F153-0BB0-4270-97E6-56F0DC629A5A}" presName="arrowDiagram3" presStyleCnt="0"/>
      <dgm:spPr/>
    </dgm:pt>
    <dgm:pt modelId="{4E6EC2F9-928A-4D2F-A58E-0F096B547CED}" type="pres">
      <dgm:prSet presAssocID="{21452D4D-DD5F-401C-BA0D-D4DC7CD96E0B}" presName="bullet3a" presStyleLbl="node1" presStyleIdx="0" presStyleCnt="3"/>
      <dgm:spPr/>
    </dgm:pt>
    <dgm:pt modelId="{4C5A99BB-3F6A-4965-8162-B60AD6602685}" type="pres">
      <dgm:prSet presAssocID="{21452D4D-DD5F-401C-BA0D-D4DC7CD96E0B}" presName="textBox3a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FDCF6F4-6843-47F8-9966-D03A7D901F0B}" type="pres">
      <dgm:prSet presAssocID="{E715F64B-70A1-423E-BFDE-3EE477B47832}" presName="bullet3b" presStyleLbl="node1" presStyleIdx="1" presStyleCnt="3"/>
      <dgm:spPr/>
    </dgm:pt>
    <dgm:pt modelId="{28BA9960-F5A1-43E9-B064-12FC8CDB01B6}" type="pres">
      <dgm:prSet presAssocID="{E715F64B-70A1-423E-BFDE-3EE477B47832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DDEE6A0-F7D7-4444-9603-C5F94C2D1844}" type="pres">
      <dgm:prSet presAssocID="{FBAC3EE9-C953-452A-890E-63300BAD978C}" presName="bullet3c" presStyleLbl="node1" presStyleIdx="2" presStyleCnt="3"/>
      <dgm:spPr/>
    </dgm:pt>
    <dgm:pt modelId="{003A8CFC-A594-48B3-9722-76201B939E2B}" type="pres">
      <dgm:prSet presAssocID="{FBAC3EE9-C953-452A-890E-63300BAD978C}" presName="textBox3c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C359A41-EBC0-4E16-A9C3-1EBD15A8FE53}" type="presOf" srcId="{E715F64B-70A1-423E-BFDE-3EE477B47832}" destId="{28BA9960-F5A1-43E9-B064-12FC8CDB01B6}" srcOrd="0" destOrd="0" presId="urn:microsoft.com/office/officeart/2005/8/layout/arrow2"/>
    <dgm:cxn modelId="{18B81EB0-97F1-4336-A9C1-92A4CEFD2FE4}" srcId="{4B52F153-0BB0-4270-97E6-56F0DC629A5A}" destId="{FBAC3EE9-C953-452A-890E-63300BAD978C}" srcOrd="2" destOrd="0" parTransId="{6A62E370-C275-499B-952E-87FD93040E83}" sibTransId="{7C644B0C-ABA1-451D-A48E-4ED10003D399}"/>
    <dgm:cxn modelId="{9ABFEA4B-AEC6-4938-8DFC-EE81C2F73680}" srcId="{4B52F153-0BB0-4270-97E6-56F0DC629A5A}" destId="{21452D4D-DD5F-401C-BA0D-D4DC7CD96E0B}" srcOrd="0" destOrd="0" parTransId="{9477666C-3ED0-474E-9E9B-CD83A4A282D5}" sibTransId="{E8C23A7D-5635-4862-9E7D-7D84B664231E}"/>
    <dgm:cxn modelId="{C92E8055-E5F2-424F-8FFF-80457B47013E}" type="presOf" srcId="{FBAC3EE9-C953-452A-890E-63300BAD978C}" destId="{003A8CFC-A594-48B3-9722-76201B939E2B}" srcOrd="0" destOrd="0" presId="urn:microsoft.com/office/officeart/2005/8/layout/arrow2"/>
    <dgm:cxn modelId="{D21C9503-3228-4C0A-9AC0-F0A7DDA4FFDA}" type="presOf" srcId="{4B52F153-0BB0-4270-97E6-56F0DC629A5A}" destId="{7C371D95-B74A-4CA2-9C4A-CE163D924D41}" srcOrd="0" destOrd="0" presId="urn:microsoft.com/office/officeart/2005/8/layout/arrow2"/>
    <dgm:cxn modelId="{36EDC039-008B-42E5-AEF5-3E0EBD99FE98}" srcId="{4B52F153-0BB0-4270-97E6-56F0DC629A5A}" destId="{E715F64B-70A1-423E-BFDE-3EE477B47832}" srcOrd="1" destOrd="0" parTransId="{68A1FB1A-6C4E-471B-8399-ABEEF1E7A65F}" sibTransId="{70B3477D-0FAB-46AE-B6D1-95FC7228164D}"/>
    <dgm:cxn modelId="{621D300D-E74B-41A9-BAFE-69BFDFF3A8DC}" type="presOf" srcId="{21452D4D-DD5F-401C-BA0D-D4DC7CD96E0B}" destId="{4C5A99BB-3F6A-4965-8162-B60AD6602685}" srcOrd="0" destOrd="0" presId="urn:microsoft.com/office/officeart/2005/8/layout/arrow2"/>
    <dgm:cxn modelId="{1C7A5446-DC63-4E0F-A09F-8E3D0803C3BB}" type="presParOf" srcId="{7C371D95-B74A-4CA2-9C4A-CE163D924D41}" destId="{F262EBC8-00C1-4BC7-B48F-952A2A80F8B3}" srcOrd="0" destOrd="0" presId="urn:microsoft.com/office/officeart/2005/8/layout/arrow2"/>
    <dgm:cxn modelId="{A7A9F317-2A3F-46CF-9781-7A4BEF6DD93E}" type="presParOf" srcId="{7C371D95-B74A-4CA2-9C4A-CE163D924D41}" destId="{E4374E2F-0124-4B7F-AC7C-7C6069D92DE7}" srcOrd="1" destOrd="0" presId="urn:microsoft.com/office/officeart/2005/8/layout/arrow2"/>
    <dgm:cxn modelId="{6BE7413A-D631-4276-B4A3-F80C899D4511}" type="presParOf" srcId="{E4374E2F-0124-4B7F-AC7C-7C6069D92DE7}" destId="{4E6EC2F9-928A-4D2F-A58E-0F096B547CED}" srcOrd="0" destOrd="0" presId="urn:microsoft.com/office/officeart/2005/8/layout/arrow2"/>
    <dgm:cxn modelId="{872540F3-E129-47CB-90B3-319CAC94503E}" type="presParOf" srcId="{E4374E2F-0124-4B7F-AC7C-7C6069D92DE7}" destId="{4C5A99BB-3F6A-4965-8162-B60AD6602685}" srcOrd="1" destOrd="0" presId="urn:microsoft.com/office/officeart/2005/8/layout/arrow2"/>
    <dgm:cxn modelId="{C2004D63-A69C-4262-B29C-10F882615C2C}" type="presParOf" srcId="{E4374E2F-0124-4B7F-AC7C-7C6069D92DE7}" destId="{9FDCF6F4-6843-47F8-9966-D03A7D901F0B}" srcOrd="2" destOrd="0" presId="urn:microsoft.com/office/officeart/2005/8/layout/arrow2"/>
    <dgm:cxn modelId="{869BF65A-8398-4FA5-A5CF-4F7ADE944491}" type="presParOf" srcId="{E4374E2F-0124-4B7F-AC7C-7C6069D92DE7}" destId="{28BA9960-F5A1-43E9-B064-12FC8CDB01B6}" srcOrd="3" destOrd="0" presId="urn:microsoft.com/office/officeart/2005/8/layout/arrow2"/>
    <dgm:cxn modelId="{290B636D-3AF0-4216-A796-050B66413FA8}" type="presParOf" srcId="{E4374E2F-0124-4B7F-AC7C-7C6069D92DE7}" destId="{CDDEE6A0-F7D7-4444-9603-C5F94C2D1844}" srcOrd="4" destOrd="0" presId="urn:microsoft.com/office/officeart/2005/8/layout/arrow2"/>
    <dgm:cxn modelId="{270FED15-60F9-474A-89EA-F077BAAEA2EB}" type="presParOf" srcId="{E4374E2F-0124-4B7F-AC7C-7C6069D92DE7}" destId="{003A8CFC-A594-48B3-9722-76201B939E2B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B52F153-0BB0-4270-97E6-56F0DC629A5A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21452D4D-DD5F-401C-BA0D-D4DC7CD96E0B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9477666C-3ED0-474E-9E9B-CD83A4A282D5}" type="parTrans" cxnId="{9ABFEA4B-AEC6-4938-8DFC-EE81C2F73680}">
      <dgm:prSet/>
      <dgm:spPr/>
      <dgm:t>
        <a:bodyPr/>
        <a:lstStyle/>
        <a:p>
          <a:endParaRPr lang="de-DE"/>
        </a:p>
      </dgm:t>
    </dgm:pt>
    <dgm:pt modelId="{E8C23A7D-5635-4862-9E7D-7D84B664231E}" type="sibTrans" cxnId="{9ABFEA4B-AEC6-4938-8DFC-EE81C2F73680}">
      <dgm:prSet/>
      <dgm:spPr/>
      <dgm:t>
        <a:bodyPr/>
        <a:lstStyle/>
        <a:p>
          <a:endParaRPr lang="de-DE"/>
        </a:p>
      </dgm:t>
    </dgm:pt>
    <dgm:pt modelId="{E715F64B-70A1-423E-BFDE-3EE477B47832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68A1FB1A-6C4E-471B-8399-ABEEF1E7A65F}" type="parTrans" cxnId="{36EDC039-008B-42E5-AEF5-3E0EBD99FE98}">
      <dgm:prSet/>
      <dgm:spPr/>
      <dgm:t>
        <a:bodyPr/>
        <a:lstStyle/>
        <a:p>
          <a:endParaRPr lang="de-DE"/>
        </a:p>
      </dgm:t>
    </dgm:pt>
    <dgm:pt modelId="{70B3477D-0FAB-46AE-B6D1-95FC7228164D}" type="sibTrans" cxnId="{36EDC039-008B-42E5-AEF5-3E0EBD99FE98}">
      <dgm:prSet/>
      <dgm:spPr/>
      <dgm:t>
        <a:bodyPr/>
        <a:lstStyle/>
        <a:p>
          <a:endParaRPr lang="de-DE"/>
        </a:p>
      </dgm:t>
    </dgm:pt>
    <dgm:pt modelId="{FBAC3EE9-C953-452A-890E-63300BAD978C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6A62E370-C275-499B-952E-87FD93040E83}" type="parTrans" cxnId="{18B81EB0-97F1-4336-A9C1-92A4CEFD2FE4}">
      <dgm:prSet/>
      <dgm:spPr/>
      <dgm:t>
        <a:bodyPr/>
        <a:lstStyle/>
        <a:p>
          <a:endParaRPr lang="de-DE"/>
        </a:p>
      </dgm:t>
    </dgm:pt>
    <dgm:pt modelId="{7C644B0C-ABA1-451D-A48E-4ED10003D399}" type="sibTrans" cxnId="{18B81EB0-97F1-4336-A9C1-92A4CEFD2FE4}">
      <dgm:prSet/>
      <dgm:spPr/>
      <dgm:t>
        <a:bodyPr/>
        <a:lstStyle/>
        <a:p>
          <a:endParaRPr lang="de-DE"/>
        </a:p>
      </dgm:t>
    </dgm:pt>
    <dgm:pt modelId="{7C371D95-B74A-4CA2-9C4A-CE163D924D41}" type="pres">
      <dgm:prSet presAssocID="{4B52F153-0BB0-4270-97E6-56F0DC629A5A}" presName="arrowDiagram" presStyleCnt="0">
        <dgm:presLayoutVars>
          <dgm:chMax val="5"/>
          <dgm:dir/>
          <dgm:resizeHandles val="exact"/>
        </dgm:presLayoutVars>
      </dgm:prSet>
      <dgm:spPr/>
    </dgm:pt>
    <dgm:pt modelId="{F262EBC8-00C1-4BC7-B48F-952A2A80F8B3}" type="pres">
      <dgm:prSet presAssocID="{4B52F153-0BB0-4270-97E6-56F0DC629A5A}" presName="arrow" presStyleLbl="bgShp" presStyleIdx="0" presStyleCnt="1"/>
      <dgm:spPr/>
    </dgm:pt>
    <dgm:pt modelId="{E4374E2F-0124-4B7F-AC7C-7C6069D92DE7}" type="pres">
      <dgm:prSet presAssocID="{4B52F153-0BB0-4270-97E6-56F0DC629A5A}" presName="arrowDiagram3" presStyleCnt="0"/>
      <dgm:spPr/>
    </dgm:pt>
    <dgm:pt modelId="{4E6EC2F9-928A-4D2F-A58E-0F096B547CED}" type="pres">
      <dgm:prSet presAssocID="{21452D4D-DD5F-401C-BA0D-D4DC7CD96E0B}" presName="bullet3a" presStyleLbl="node1" presStyleIdx="0" presStyleCnt="3"/>
      <dgm:spPr/>
    </dgm:pt>
    <dgm:pt modelId="{4C5A99BB-3F6A-4965-8162-B60AD6602685}" type="pres">
      <dgm:prSet presAssocID="{21452D4D-DD5F-401C-BA0D-D4DC7CD96E0B}" presName="textBox3a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FDCF6F4-6843-47F8-9966-D03A7D901F0B}" type="pres">
      <dgm:prSet presAssocID="{E715F64B-70A1-423E-BFDE-3EE477B47832}" presName="bullet3b" presStyleLbl="node1" presStyleIdx="1" presStyleCnt="3"/>
      <dgm:spPr/>
    </dgm:pt>
    <dgm:pt modelId="{28BA9960-F5A1-43E9-B064-12FC8CDB01B6}" type="pres">
      <dgm:prSet presAssocID="{E715F64B-70A1-423E-BFDE-3EE477B47832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DDEE6A0-F7D7-4444-9603-C5F94C2D1844}" type="pres">
      <dgm:prSet presAssocID="{FBAC3EE9-C953-452A-890E-63300BAD978C}" presName="bullet3c" presStyleLbl="node1" presStyleIdx="2" presStyleCnt="3"/>
      <dgm:spPr/>
    </dgm:pt>
    <dgm:pt modelId="{003A8CFC-A594-48B3-9722-76201B939E2B}" type="pres">
      <dgm:prSet presAssocID="{FBAC3EE9-C953-452A-890E-63300BAD978C}" presName="textBox3c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8B81EB0-97F1-4336-A9C1-92A4CEFD2FE4}" srcId="{4B52F153-0BB0-4270-97E6-56F0DC629A5A}" destId="{FBAC3EE9-C953-452A-890E-63300BAD978C}" srcOrd="2" destOrd="0" parTransId="{6A62E370-C275-499B-952E-87FD93040E83}" sibTransId="{7C644B0C-ABA1-451D-A48E-4ED10003D399}"/>
    <dgm:cxn modelId="{9ABFEA4B-AEC6-4938-8DFC-EE81C2F73680}" srcId="{4B52F153-0BB0-4270-97E6-56F0DC629A5A}" destId="{21452D4D-DD5F-401C-BA0D-D4DC7CD96E0B}" srcOrd="0" destOrd="0" parTransId="{9477666C-3ED0-474E-9E9B-CD83A4A282D5}" sibTransId="{E8C23A7D-5635-4862-9E7D-7D84B664231E}"/>
    <dgm:cxn modelId="{5481FECA-DA45-448F-9B17-2F2DDBE98E84}" type="presOf" srcId="{FBAC3EE9-C953-452A-890E-63300BAD978C}" destId="{003A8CFC-A594-48B3-9722-76201B939E2B}" srcOrd="0" destOrd="0" presId="urn:microsoft.com/office/officeart/2005/8/layout/arrow2"/>
    <dgm:cxn modelId="{EF7CBFA1-2D53-4195-AEB4-B8FD918D6C00}" type="presOf" srcId="{E715F64B-70A1-423E-BFDE-3EE477B47832}" destId="{28BA9960-F5A1-43E9-B064-12FC8CDB01B6}" srcOrd="0" destOrd="0" presId="urn:microsoft.com/office/officeart/2005/8/layout/arrow2"/>
    <dgm:cxn modelId="{36EDC039-008B-42E5-AEF5-3E0EBD99FE98}" srcId="{4B52F153-0BB0-4270-97E6-56F0DC629A5A}" destId="{E715F64B-70A1-423E-BFDE-3EE477B47832}" srcOrd="1" destOrd="0" parTransId="{68A1FB1A-6C4E-471B-8399-ABEEF1E7A65F}" sibTransId="{70B3477D-0FAB-46AE-B6D1-95FC7228164D}"/>
    <dgm:cxn modelId="{0BD04514-70D3-40C3-93F7-9659D18EA945}" type="presOf" srcId="{21452D4D-DD5F-401C-BA0D-D4DC7CD96E0B}" destId="{4C5A99BB-3F6A-4965-8162-B60AD6602685}" srcOrd="0" destOrd="0" presId="urn:microsoft.com/office/officeart/2005/8/layout/arrow2"/>
    <dgm:cxn modelId="{345F9741-40A1-4A2D-8FAF-1D165F754783}" type="presOf" srcId="{4B52F153-0BB0-4270-97E6-56F0DC629A5A}" destId="{7C371D95-B74A-4CA2-9C4A-CE163D924D41}" srcOrd="0" destOrd="0" presId="urn:microsoft.com/office/officeart/2005/8/layout/arrow2"/>
    <dgm:cxn modelId="{5E3B0597-BE70-48E6-ADBB-409178D2F827}" type="presParOf" srcId="{7C371D95-B74A-4CA2-9C4A-CE163D924D41}" destId="{F262EBC8-00C1-4BC7-B48F-952A2A80F8B3}" srcOrd="0" destOrd="0" presId="urn:microsoft.com/office/officeart/2005/8/layout/arrow2"/>
    <dgm:cxn modelId="{6855B091-2D52-48B7-90B6-635110712569}" type="presParOf" srcId="{7C371D95-B74A-4CA2-9C4A-CE163D924D41}" destId="{E4374E2F-0124-4B7F-AC7C-7C6069D92DE7}" srcOrd="1" destOrd="0" presId="urn:microsoft.com/office/officeart/2005/8/layout/arrow2"/>
    <dgm:cxn modelId="{DF4E243F-91D1-445A-9292-C261FC6DD41D}" type="presParOf" srcId="{E4374E2F-0124-4B7F-AC7C-7C6069D92DE7}" destId="{4E6EC2F9-928A-4D2F-A58E-0F096B547CED}" srcOrd="0" destOrd="0" presId="urn:microsoft.com/office/officeart/2005/8/layout/arrow2"/>
    <dgm:cxn modelId="{D3AFE161-4B74-40C9-9934-52C46EF7C58E}" type="presParOf" srcId="{E4374E2F-0124-4B7F-AC7C-7C6069D92DE7}" destId="{4C5A99BB-3F6A-4965-8162-B60AD6602685}" srcOrd="1" destOrd="0" presId="urn:microsoft.com/office/officeart/2005/8/layout/arrow2"/>
    <dgm:cxn modelId="{F1B5F001-B329-461C-A98F-0CA86BAB6E7E}" type="presParOf" srcId="{E4374E2F-0124-4B7F-AC7C-7C6069D92DE7}" destId="{9FDCF6F4-6843-47F8-9966-D03A7D901F0B}" srcOrd="2" destOrd="0" presId="urn:microsoft.com/office/officeart/2005/8/layout/arrow2"/>
    <dgm:cxn modelId="{7804521B-0973-48FF-AF81-8638C4C0F588}" type="presParOf" srcId="{E4374E2F-0124-4B7F-AC7C-7C6069D92DE7}" destId="{28BA9960-F5A1-43E9-B064-12FC8CDB01B6}" srcOrd="3" destOrd="0" presId="urn:microsoft.com/office/officeart/2005/8/layout/arrow2"/>
    <dgm:cxn modelId="{8D1A0191-169F-40A1-B12B-677D64ABC505}" type="presParOf" srcId="{E4374E2F-0124-4B7F-AC7C-7C6069D92DE7}" destId="{CDDEE6A0-F7D7-4444-9603-C5F94C2D1844}" srcOrd="4" destOrd="0" presId="urn:microsoft.com/office/officeart/2005/8/layout/arrow2"/>
    <dgm:cxn modelId="{E8A14B12-4EEF-4900-B2E5-7081463C379C}" type="presParOf" srcId="{E4374E2F-0124-4B7F-AC7C-7C6069D92DE7}" destId="{003A8CFC-A594-48B3-9722-76201B939E2B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B52F153-0BB0-4270-97E6-56F0DC629A5A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21452D4D-DD5F-401C-BA0D-D4DC7CD96E0B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9477666C-3ED0-474E-9E9B-CD83A4A282D5}" type="parTrans" cxnId="{9ABFEA4B-AEC6-4938-8DFC-EE81C2F73680}">
      <dgm:prSet/>
      <dgm:spPr/>
      <dgm:t>
        <a:bodyPr/>
        <a:lstStyle/>
        <a:p>
          <a:endParaRPr lang="de-DE"/>
        </a:p>
      </dgm:t>
    </dgm:pt>
    <dgm:pt modelId="{E8C23A7D-5635-4862-9E7D-7D84B664231E}" type="sibTrans" cxnId="{9ABFEA4B-AEC6-4938-8DFC-EE81C2F73680}">
      <dgm:prSet/>
      <dgm:spPr/>
      <dgm:t>
        <a:bodyPr/>
        <a:lstStyle/>
        <a:p>
          <a:endParaRPr lang="de-DE"/>
        </a:p>
      </dgm:t>
    </dgm:pt>
    <dgm:pt modelId="{E715F64B-70A1-423E-BFDE-3EE477B47832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68A1FB1A-6C4E-471B-8399-ABEEF1E7A65F}" type="parTrans" cxnId="{36EDC039-008B-42E5-AEF5-3E0EBD99FE98}">
      <dgm:prSet/>
      <dgm:spPr/>
      <dgm:t>
        <a:bodyPr/>
        <a:lstStyle/>
        <a:p>
          <a:endParaRPr lang="de-DE"/>
        </a:p>
      </dgm:t>
    </dgm:pt>
    <dgm:pt modelId="{70B3477D-0FAB-46AE-B6D1-95FC7228164D}" type="sibTrans" cxnId="{36EDC039-008B-42E5-AEF5-3E0EBD99FE98}">
      <dgm:prSet/>
      <dgm:spPr/>
      <dgm:t>
        <a:bodyPr/>
        <a:lstStyle/>
        <a:p>
          <a:endParaRPr lang="de-DE"/>
        </a:p>
      </dgm:t>
    </dgm:pt>
    <dgm:pt modelId="{FBAC3EE9-C953-452A-890E-63300BAD978C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6A62E370-C275-499B-952E-87FD93040E83}" type="parTrans" cxnId="{18B81EB0-97F1-4336-A9C1-92A4CEFD2FE4}">
      <dgm:prSet/>
      <dgm:spPr/>
      <dgm:t>
        <a:bodyPr/>
        <a:lstStyle/>
        <a:p>
          <a:endParaRPr lang="de-DE"/>
        </a:p>
      </dgm:t>
    </dgm:pt>
    <dgm:pt modelId="{7C644B0C-ABA1-451D-A48E-4ED10003D399}" type="sibTrans" cxnId="{18B81EB0-97F1-4336-A9C1-92A4CEFD2FE4}">
      <dgm:prSet/>
      <dgm:spPr/>
      <dgm:t>
        <a:bodyPr/>
        <a:lstStyle/>
        <a:p>
          <a:endParaRPr lang="de-DE"/>
        </a:p>
      </dgm:t>
    </dgm:pt>
    <dgm:pt modelId="{7C371D95-B74A-4CA2-9C4A-CE163D924D41}" type="pres">
      <dgm:prSet presAssocID="{4B52F153-0BB0-4270-97E6-56F0DC629A5A}" presName="arrowDiagram" presStyleCnt="0">
        <dgm:presLayoutVars>
          <dgm:chMax val="5"/>
          <dgm:dir/>
          <dgm:resizeHandles val="exact"/>
        </dgm:presLayoutVars>
      </dgm:prSet>
      <dgm:spPr/>
    </dgm:pt>
    <dgm:pt modelId="{F262EBC8-00C1-4BC7-B48F-952A2A80F8B3}" type="pres">
      <dgm:prSet presAssocID="{4B52F153-0BB0-4270-97E6-56F0DC629A5A}" presName="arrow" presStyleLbl="bgShp" presStyleIdx="0" presStyleCnt="1"/>
      <dgm:spPr/>
    </dgm:pt>
    <dgm:pt modelId="{E4374E2F-0124-4B7F-AC7C-7C6069D92DE7}" type="pres">
      <dgm:prSet presAssocID="{4B52F153-0BB0-4270-97E6-56F0DC629A5A}" presName="arrowDiagram3" presStyleCnt="0"/>
      <dgm:spPr/>
    </dgm:pt>
    <dgm:pt modelId="{4E6EC2F9-928A-4D2F-A58E-0F096B547CED}" type="pres">
      <dgm:prSet presAssocID="{21452D4D-DD5F-401C-BA0D-D4DC7CD96E0B}" presName="bullet3a" presStyleLbl="node1" presStyleIdx="0" presStyleCnt="3"/>
      <dgm:spPr/>
    </dgm:pt>
    <dgm:pt modelId="{4C5A99BB-3F6A-4965-8162-B60AD6602685}" type="pres">
      <dgm:prSet presAssocID="{21452D4D-DD5F-401C-BA0D-D4DC7CD96E0B}" presName="textBox3a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FDCF6F4-6843-47F8-9966-D03A7D901F0B}" type="pres">
      <dgm:prSet presAssocID="{E715F64B-70A1-423E-BFDE-3EE477B47832}" presName="bullet3b" presStyleLbl="node1" presStyleIdx="1" presStyleCnt="3"/>
      <dgm:spPr/>
    </dgm:pt>
    <dgm:pt modelId="{28BA9960-F5A1-43E9-B064-12FC8CDB01B6}" type="pres">
      <dgm:prSet presAssocID="{E715F64B-70A1-423E-BFDE-3EE477B47832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DDEE6A0-F7D7-4444-9603-C5F94C2D1844}" type="pres">
      <dgm:prSet presAssocID="{FBAC3EE9-C953-452A-890E-63300BAD978C}" presName="bullet3c" presStyleLbl="node1" presStyleIdx="2" presStyleCnt="3"/>
      <dgm:spPr/>
    </dgm:pt>
    <dgm:pt modelId="{003A8CFC-A594-48B3-9722-76201B939E2B}" type="pres">
      <dgm:prSet presAssocID="{FBAC3EE9-C953-452A-890E-63300BAD978C}" presName="textBox3c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8B81EB0-97F1-4336-A9C1-92A4CEFD2FE4}" srcId="{4B52F153-0BB0-4270-97E6-56F0DC629A5A}" destId="{FBAC3EE9-C953-452A-890E-63300BAD978C}" srcOrd="2" destOrd="0" parTransId="{6A62E370-C275-499B-952E-87FD93040E83}" sibTransId="{7C644B0C-ABA1-451D-A48E-4ED10003D399}"/>
    <dgm:cxn modelId="{9ABFEA4B-AEC6-4938-8DFC-EE81C2F73680}" srcId="{4B52F153-0BB0-4270-97E6-56F0DC629A5A}" destId="{21452D4D-DD5F-401C-BA0D-D4DC7CD96E0B}" srcOrd="0" destOrd="0" parTransId="{9477666C-3ED0-474E-9E9B-CD83A4A282D5}" sibTransId="{E8C23A7D-5635-4862-9E7D-7D84B664231E}"/>
    <dgm:cxn modelId="{7904B034-E868-44CF-AC34-02F80911A26D}" type="presOf" srcId="{4B52F153-0BB0-4270-97E6-56F0DC629A5A}" destId="{7C371D95-B74A-4CA2-9C4A-CE163D924D41}" srcOrd="0" destOrd="0" presId="urn:microsoft.com/office/officeart/2005/8/layout/arrow2"/>
    <dgm:cxn modelId="{36EDC039-008B-42E5-AEF5-3E0EBD99FE98}" srcId="{4B52F153-0BB0-4270-97E6-56F0DC629A5A}" destId="{E715F64B-70A1-423E-BFDE-3EE477B47832}" srcOrd="1" destOrd="0" parTransId="{68A1FB1A-6C4E-471B-8399-ABEEF1E7A65F}" sibTransId="{70B3477D-0FAB-46AE-B6D1-95FC7228164D}"/>
    <dgm:cxn modelId="{5E0474A0-7E6A-4930-AEC3-E8E85B6C6CE1}" type="presOf" srcId="{21452D4D-DD5F-401C-BA0D-D4DC7CD96E0B}" destId="{4C5A99BB-3F6A-4965-8162-B60AD6602685}" srcOrd="0" destOrd="0" presId="urn:microsoft.com/office/officeart/2005/8/layout/arrow2"/>
    <dgm:cxn modelId="{705CFABD-FC63-41D7-AD0A-CB49CB4810D5}" type="presOf" srcId="{E715F64B-70A1-423E-BFDE-3EE477B47832}" destId="{28BA9960-F5A1-43E9-B064-12FC8CDB01B6}" srcOrd="0" destOrd="0" presId="urn:microsoft.com/office/officeart/2005/8/layout/arrow2"/>
    <dgm:cxn modelId="{BC9DB41D-D83B-4446-929A-7CD70ACD5B9E}" type="presOf" srcId="{FBAC3EE9-C953-452A-890E-63300BAD978C}" destId="{003A8CFC-A594-48B3-9722-76201B939E2B}" srcOrd="0" destOrd="0" presId="urn:microsoft.com/office/officeart/2005/8/layout/arrow2"/>
    <dgm:cxn modelId="{4069B96D-B60E-42B2-8D43-69283903A475}" type="presParOf" srcId="{7C371D95-B74A-4CA2-9C4A-CE163D924D41}" destId="{F262EBC8-00C1-4BC7-B48F-952A2A80F8B3}" srcOrd="0" destOrd="0" presId="urn:microsoft.com/office/officeart/2005/8/layout/arrow2"/>
    <dgm:cxn modelId="{16668B00-5DCC-4AE9-86B6-5DAD4AA08E20}" type="presParOf" srcId="{7C371D95-B74A-4CA2-9C4A-CE163D924D41}" destId="{E4374E2F-0124-4B7F-AC7C-7C6069D92DE7}" srcOrd="1" destOrd="0" presId="urn:microsoft.com/office/officeart/2005/8/layout/arrow2"/>
    <dgm:cxn modelId="{CCFBB7C0-1141-4A1E-B7A2-4DA4F0C81C98}" type="presParOf" srcId="{E4374E2F-0124-4B7F-AC7C-7C6069D92DE7}" destId="{4E6EC2F9-928A-4D2F-A58E-0F096B547CED}" srcOrd="0" destOrd="0" presId="urn:microsoft.com/office/officeart/2005/8/layout/arrow2"/>
    <dgm:cxn modelId="{797DA152-A1A0-4151-9F9B-D68817D24992}" type="presParOf" srcId="{E4374E2F-0124-4B7F-AC7C-7C6069D92DE7}" destId="{4C5A99BB-3F6A-4965-8162-B60AD6602685}" srcOrd="1" destOrd="0" presId="urn:microsoft.com/office/officeart/2005/8/layout/arrow2"/>
    <dgm:cxn modelId="{5F05EEC6-60BB-4D6F-B8B3-914C85853E12}" type="presParOf" srcId="{E4374E2F-0124-4B7F-AC7C-7C6069D92DE7}" destId="{9FDCF6F4-6843-47F8-9966-D03A7D901F0B}" srcOrd="2" destOrd="0" presId="urn:microsoft.com/office/officeart/2005/8/layout/arrow2"/>
    <dgm:cxn modelId="{7AC3034C-4C16-42AB-ADAF-BC624AF91435}" type="presParOf" srcId="{E4374E2F-0124-4B7F-AC7C-7C6069D92DE7}" destId="{28BA9960-F5A1-43E9-B064-12FC8CDB01B6}" srcOrd="3" destOrd="0" presId="urn:microsoft.com/office/officeart/2005/8/layout/arrow2"/>
    <dgm:cxn modelId="{608B851A-5C52-47D6-9EAF-EC6F43CFCB34}" type="presParOf" srcId="{E4374E2F-0124-4B7F-AC7C-7C6069D92DE7}" destId="{CDDEE6A0-F7D7-4444-9603-C5F94C2D1844}" srcOrd="4" destOrd="0" presId="urn:microsoft.com/office/officeart/2005/8/layout/arrow2"/>
    <dgm:cxn modelId="{E821683C-D30A-4CFF-984C-3A5B5129A028}" type="presParOf" srcId="{E4374E2F-0124-4B7F-AC7C-7C6069D92DE7}" destId="{003A8CFC-A594-48B3-9722-76201B939E2B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4813" cy="495300"/>
          </a:xfrm>
          <a:prstGeom prst="rect">
            <a:avLst/>
          </a:prstGeom>
        </p:spPr>
        <p:txBody>
          <a:bodyPr vert="horz" lIns="91422" tIns="45711" rIns="91422" bIns="4571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 dirty="0">
              <a:latin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102" y="2"/>
            <a:ext cx="2944813" cy="495300"/>
          </a:xfrm>
          <a:prstGeom prst="rect">
            <a:avLst/>
          </a:prstGeom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F939CB46-7484-4D52-99D6-2E15A821E5E1}" type="datetime1">
              <a:rPr lang="de-DE">
                <a:latin typeface="Arial" pitchFamily="34" charset="0"/>
              </a:rPr>
              <a:pPr>
                <a:defRPr/>
              </a:pPr>
              <a:t>09.09.2013</a:t>
            </a:fld>
            <a:endParaRPr lang="de-DE" dirty="0">
              <a:latin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09114"/>
            <a:ext cx="2944813" cy="495300"/>
          </a:xfrm>
          <a:prstGeom prst="rect">
            <a:avLst/>
          </a:prstGeom>
        </p:spPr>
        <p:txBody>
          <a:bodyPr vert="horz" lIns="91422" tIns="45711" rIns="91422" bIns="4571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 dirty="0">
              <a:latin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102" y="9409114"/>
            <a:ext cx="2944813" cy="495300"/>
          </a:xfrm>
          <a:prstGeom prst="rect">
            <a:avLst/>
          </a:prstGeom>
        </p:spPr>
        <p:txBody>
          <a:bodyPr vert="horz" wrap="square" lIns="91422" tIns="45711" rIns="91422" bIns="45711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F5734786-5CCA-4533-A917-2CEAF247862E}" type="slidenum">
              <a:rPr lang="de-DE">
                <a:latin typeface="Arial" pitchFamily="34" charset="0"/>
              </a:rPr>
              <a:pPr>
                <a:defRPr/>
              </a:pPr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67219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4813" cy="495300"/>
          </a:xfrm>
          <a:prstGeom prst="rect">
            <a:avLst/>
          </a:prstGeom>
        </p:spPr>
        <p:txBody>
          <a:bodyPr vert="horz" lIns="91422" tIns="45711" rIns="91422" bIns="4571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102" y="2"/>
            <a:ext cx="2944813" cy="495300"/>
          </a:xfrm>
          <a:prstGeom prst="rect">
            <a:avLst/>
          </a:prstGeom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pitchFamily="34" charset="0"/>
              </a:defRPr>
            </a:lvl1pPr>
          </a:lstStyle>
          <a:p>
            <a:pPr>
              <a:defRPr/>
            </a:pPr>
            <a:fld id="{1F5D98EC-8D57-4AB4-89F9-763DF769FA5A}" type="datetime1">
              <a:rPr lang="de-DE" smtClean="0"/>
              <a:pPr>
                <a:defRPr/>
              </a:pPr>
              <a:t>09.09.201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1" rIns="91422" bIns="45711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09114"/>
            <a:ext cx="2944813" cy="495300"/>
          </a:xfrm>
          <a:prstGeom prst="rect">
            <a:avLst/>
          </a:prstGeom>
        </p:spPr>
        <p:txBody>
          <a:bodyPr vert="horz" lIns="91422" tIns="45711" rIns="91422" bIns="4571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102" y="9409114"/>
            <a:ext cx="2944813" cy="495300"/>
          </a:xfrm>
          <a:prstGeom prst="rect">
            <a:avLst/>
          </a:prstGeom>
        </p:spPr>
        <p:txBody>
          <a:bodyPr vert="horz" wrap="square" lIns="91422" tIns="45711" rIns="91422" bIns="45711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pitchFamily="34" charset="0"/>
              </a:defRPr>
            </a:lvl1pPr>
          </a:lstStyle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33875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46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dirty="0" smtClean="0"/>
          </a:p>
        </p:txBody>
      </p:sp>
      <p:sp>
        <p:nvSpPr>
          <p:cNvPr id="7680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9D0C1BC-E9FF-4E34-9B81-684BFE5991A9}" type="slidenum">
              <a:rPr lang="de-DE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53968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53968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53968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53968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defTabSz="440466">
              <a:defRPr/>
            </a:pPr>
            <a:endParaRPr lang="en-US" baseline="0" dirty="0" smtClean="0">
              <a:sym typeface="Wingdings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  <a:p>
            <a:endParaRPr lang="de-DE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43827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171450" indent="-171450">
              <a:buFont typeface="Arial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5327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43827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43827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43827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43827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4382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53968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indent="0" defTabSz="440466">
              <a:buFont typeface="Arial" pitchFamily="34" charset="0"/>
              <a:buNone/>
              <a:defRPr/>
            </a:pP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420E9A-5027-48FA-A342-924D060D8660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949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0513" y="520700"/>
            <a:ext cx="19304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27381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1B9C7D"/>
                </a:solidFill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21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5D981F20-5F59-410D-978E-669827E43BD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200" y="1431925"/>
            <a:ext cx="2660073" cy="4421620"/>
          </a:xfrm>
        </p:spPr>
        <p:txBody>
          <a:bodyPr/>
          <a:lstStyle>
            <a:lvl1pPr>
              <a:buNone/>
              <a:defRPr>
                <a:latin typeface="Arial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9" y="1431925"/>
            <a:ext cx="5194444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32245"/>
            <a:ext cx="8222817" cy="787402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FA93B"/>
              </a:buClr>
              <a:defRPr/>
            </a:lvl1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1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199" y="1431925"/>
            <a:ext cx="2660073" cy="442162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8" y="1431925"/>
            <a:ext cx="5194444" cy="4410075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8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C ELAN_Inhalt_Stichpunkte 1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</a:lstStyle>
          <a:p>
            <a:r>
              <a:rPr lang="de-DE" dirty="0" smtClean="0"/>
              <a:t>Headline  ̶  </a:t>
            </a:r>
            <a:r>
              <a:rPr lang="de-DE" dirty="0" err="1" smtClean="0"/>
              <a:t>Tahoma</a:t>
            </a:r>
            <a:r>
              <a:rPr lang="de-DE" dirty="0" smtClean="0"/>
              <a:t> Regular 22pt</a:t>
            </a:r>
            <a:br>
              <a:rPr lang="de-DE" dirty="0" smtClean="0"/>
            </a:br>
            <a:r>
              <a:rPr lang="de-DE" dirty="0" smtClean="0">
                <a:solidFill>
                  <a:srgbClr val="658E0C"/>
                </a:solidFill>
              </a:rPr>
              <a:t>Zweite Zeile bitte immer in Kopfbalkenfarb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 hasCustomPrompt="1"/>
          </p:nvPr>
        </p:nvSpPr>
        <p:spPr>
          <a:xfrm>
            <a:off x="432000" y="1715388"/>
            <a:ext cx="828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Stichpunkt (</a:t>
            </a:r>
            <a:r>
              <a:rPr lang="de-DE" dirty="0" err="1" smtClean="0"/>
              <a:t>Tahoma</a:t>
            </a:r>
            <a:r>
              <a:rPr lang="de-DE" dirty="0" smtClean="0"/>
              <a:t> Regular, 16pt)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-100013" y="6481763"/>
            <a:ext cx="2895601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© subreport Verlag Schawe GmbH 11/2010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-100013" y="6481763"/>
            <a:ext cx="2895601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© subreport Verlag Schawe GmbH 11/2010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  <p:transition spd="slow">
    <p:push dir="u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1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7420FEF1-F9B9-4055-B9F5-7B813D9D9A21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/>
          <p:cNvSpPr>
            <a:spLocks noGrp="1"/>
          </p:cNvSpPr>
          <p:nvPr>
            <p:ph type="chart" sz="half" idx="1"/>
          </p:nvPr>
        </p:nvSpPr>
        <p:spPr>
          <a:xfrm>
            <a:off x="0" y="2923952"/>
            <a:ext cx="9144000" cy="350874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de-DE" noProof="0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9144000" cy="18424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de-DE" kern="0">
              <a:solidFill>
                <a:sysClr val="window" lastClr="FFFFFF"/>
              </a:solidFill>
              <a:latin typeface="Tahoma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0" y="5015552"/>
            <a:ext cx="9144000" cy="18424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de-DE" kern="0">
              <a:solidFill>
                <a:sysClr val="window" lastClr="FFFFFF"/>
              </a:solidFill>
              <a:latin typeface="Tahoma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275" y="660400"/>
            <a:ext cx="19304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27381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FF8F00"/>
                </a:solidFill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088" y="520700"/>
            <a:ext cx="8215312" cy="698502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F0240C50-1CA7-4C83-8230-C3E1EACA1ADD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FD06CD23-79E1-43DC-85D0-05A73124E8E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39738" y="520700"/>
            <a:ext cx="8242444" cy="71120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FA5C1E09-BFDF-41AB-9B0B-CEF40CCC8D7B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39738" y="520700"/>
            <a:ext cx="8242444" cy="71120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2" name="Inhaltsplatzhalter 12"/>
          <p:cNvSpPr>
            <a:spLocks noGrp="1"/>
          </p:cNvSpPr>
          <p:nvPr>
            <p:ph sz="quarter" idx="13"/>
          </p:nvPr>
        </p:nvSpPr>
        <p:spPr>
          <a:xfrm>
            <a:off x="6045200" y="1431925"/>
            <a:ext cx="2660073" cy="4421620"/>
          </a:xfrm>
        </p:spPr>
        <p:txBody>
          <a:bodyPr/>
          <a:lstStyle>
            <a:lvl1pPr>
              <a:buNone/>
              <a:defRPr>
                <a:latin typeface="Arial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9" y="1431925"/>
            <a:ext cx="5194444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DF2F8EB0-5E9B-4300-AEA7-312551C008A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275" y="660400"/>
            <a:ext cx="19304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680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CC1F2F"/>
                </a:solidFill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520700"/>
            <a:ext cx="8229600" cy="723902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9738" y="1431925"/>
            <a:ext cx="8247062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D17C4FC5-93DB-45C5-9E7A-048429BF56B0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7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0C6500DC-6F36-4FC5-8572-7DACF02441A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31094"/>
            <a:ext cx="8234362" cy="73890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9738" y="1431925"/>
            <a:ext cx="8247062" cy="4524377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00D7799F-A272-423F-981B-5973FFD7C8B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1FF743A5-ACFA-47F5-9758-8C96D50E45BA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200" y="1431925"/>
            <a:ext cx="2660073" cy="4421620"/>
          </a:xfrm>
        </p:spPr>
        <p:txBody>
          <a:bodyPr/>
          <a:lstStyle>
            <a:lvl1pPr>
              <a:buNone/>
              <a:defRPr>
                <a:latin typeface="Arial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9" y="1431925"/>
            <a:ext cx="5194444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53A5D03D-CC59-4A0A-B1CA-1A478306DE87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Inhaltsplatzhalter 12"/>
          <p:cNvSpPr>
            <a:spLocks noGrp="1"/>
          </p:cNvSpPr>
          <p:nvPr>
            <p:ph sz="quarter" idx="13"/>
          </p:nvPr>
        </p:nvSpPr>
        <p:spPr>
          <a:xfrm>
            <a:off x="6045200" y="1431925"/>
            <a:ext cx="2660073" cy="4421620"/>
          </a:xfrm>
        </p:spPr>
        <p:txBody>
          <a:bodyPr/>
          <a:lstStyle>
            <a:lvl1pPr>
              <a:buNone/>
              <a:defRPr>
                <a:latin typeface="Arial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9" y="1431925"/>
            <a:ext cx="5194444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675" y="812800"/>
            <a:ext cx="19304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680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chemeClr val="accent5"/>
                </a:solidFill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9738" y="1431925"/>
            <a:ext cx="8247062" cy="44227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4FA501B6-4C48-4E6E-8B7E-F7AC001602D0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 bwMode="auto">
          <a:xfrm>
            <a:off x="446088" y="520700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192FB201-1459-451A-93CA-DEC923321FE1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C310BBF6-28D8-4739-833C-530FCA6C6AE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9" name="Inhaltsplatzhalter 12"/>
          <p:cNvSpPr>
            <a:spLocks noGrp="1"/>
          </p:cNvSpPr>
          <p:nvPr>
            <p:ph sz="quarter" idx="13"/>
          </p:nvPr>
        </p:nvSpPr>
        <p:spPr>
          <a:xfrm>
            <a:off x="6045199" y="1431925"/>
            <a:ext cx="2660073" cy="4421620"/>
          </a:xfrm>
        </p:spPr>
        <p:txBody>
          <a:bodyPr/>
          <a:lstStyle>
            <a:lvl1pPr>
              <a:buNone/>
              <a:defRPr>
                <a:latin typeface="Arial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8" y="1431925"/>
            <a:ext cx="5194444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3CEB6366-B205-49C8-8ABB-6ED04BC9F03D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275" y="660400"/>
            <a:ext cx="19304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680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chemeClr val="accent6"/>
                </a:solidFill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20700"/>
            <a:ext cx="8247062" cy="711202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9738" y="1431925"/>
            <a:ext cx="8247062" cy="44227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D7A2AC7A-9BB1-45EF-8A4E-C8234CEDA37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FCC3889D-1B90-4B5F-BFD1-DFF557896D45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20700"/>
            <a:ext cx="8221662" cy="69850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847C600B-98CE-4E94-9280-5B414BE06A0D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D5A6BABF-01BB-41CF-8B37-F3922786BED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199" y="1431925"/>
            <a:ext cx="2660073" cy="4421620"/>
          </a:xfrm>
        </p:spPr>
        <p:txBody>
          <a:bodyPr/>
          <a:lstStyle>
            <a:lvl1pPr>
              <a:buNone/>
              <a:defRPr>
                <a:latin typeface="Arial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8" y="1431925"/>
            <a:ext cx="5194444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1E1E5D4C-BBF2-4D2E-9EF1-BBDCF317078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275" y="660400"/>
            <a:ext cx="19304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680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00ACD3"/>
                </a:solidFill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58B91874-F425-47CA-8B5F-6F75E3723B7E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39738" y="532245"/>
            <a:ext cx="8247062" cy="711202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39738" y="1431925"/>
            <a:ext cx="8247062" cy="44227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F229B88E-4531-46E8-B1B7-642EEFD4650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3D7680BD-AD01-4336-9224-BE0606E17F1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199" y="1431925"/>
            <a:ext cx="2660073" cy="4421620"/>
          </a:xfrm>
        </p:spPr>
        <p:txBody>
          <a:bodyPr/>
          <a:lstStyle>
            <a:lvl1pPr>
              <a:buNone/>
              <a:defRPr>
                <a:latin typeface="Arial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8" y="1431925"/>
            <a:ext cx="5194444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3D7680BD-AD01-4336-9224-BE0606E17F1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199" y="1431925"/>
            <a:ext cx="2660073" cy="4421620"/>
          </a:xfrm>
        </p:spPr>
        <p:txBody>
          <a:bodyPr/>
          <a:lstStyle>
            <a:lvl1pPr>
              <a:buNone/>
              <a:defRPr>
                <a:latin typeface="Arial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8" y="1431925"/>
            <a:ext cx="5194444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8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9FB89066-8ADE-4FD1-A6E7-4F46DFA0134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680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7FC615"/>
                </a:solidFill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32245"/>
            <a:ext cx="8222817" cy="787402"/>
          </a:xfrm>
        </p:spPr>
        <p:txBody>
          <a:bodyPr>
            <a:normAutofit/>
          </a:bodyPr>
          <a:lstStyle>
            <a:lvl1pPr>
              <a:defRPr sz="2000"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DB8BDFB4-D739-48CB-BA66-AE8C1CA6DAF6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20700"/>
            <a:ext cx="8221662" cy="72390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>
          <a:xfrm>
            <a:off x="6045200" y="1431925"/>
            <a:ext cx="2660073" cy="4421620"/>
          </a:xfrm>
        </p:spPr>
        <p:txBody>
          <a:bodyPr/>
          <a:lstStyle>
            <a:lvl1pPr>
              <a:buNone/>
              <a:defRPr>
                <a:latin typeface="Arial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9" y="1431925"/>
            <a:ext cx="5194444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BBCF97EE-77FC-4D67-889F-1452D5FF6C09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liennummernplatzhalt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A49C7953-51E5-4908-BF2B-71D7582B6520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C8495DB5-E49C-4064-B885-AE1B965D1826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199" y="1431925"/>
            <a:ext cx="2660073" cy="4421620"/>
          </a:xfrm>
        </p:spPr>
        <p:txBody>
          <a:bodyPr/>
          <a:lstStyle>
            <a:lvl1pPr>
              <a:buNone/>
              <a:defRPr>
                <a:latin typeface="Arial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8" y="1431925"/>
            <a:ext cx="5194444" cy="4410075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B37BE157-07A2-4EFF-B6AC-9C2DC4F862CE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itel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680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6FA93B"/>
                </a:solidFill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32245"/>
            <a:ext cx="8222817" cy="787402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FA93B"/>
              </a:buClr>
              <a:defRPr/>
            </a:lvl1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1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199" y="1431925"/>
            <a:ext cx="2660073" cy="442162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8" y="1431925"/>
            <a:ext cx="5194444" cy="4410075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8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-100013" y="6481763"/>
            <a:ext cx="2895601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© subreport Verlag Schawe GmbH 11/2010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7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BE3ECC1E-74C8-4577-AC06-1163B3A3EA06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1"/>
          </p:nvPr>
        </p:nvSpPr>
        <p:spPr>
          <a:xfrm>
            <a:off x="439738" y="1431925"/>
            <a:ext cx="8242300" cy="437515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39738" y="520700"/>
            <a:ext cx="8221662" cy="72390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-100013" y="6481763"/>
            <a:ext cx="2895601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© subreport Verlag Schawe GmbH 11/2010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  <p:transition spd="slow">
    <p:push dir="u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/>
          <p:cNvSpPr>
            <a:spLocks noGrp="1"/>
          </p:cNvSpPr>
          <p:nvPr>
            <p:ph type="chart" sz="half" idx="1"/>
          </p:nvPr>
        </p:nvSpPr>
        <p:spPr>
          <a:xfrm>
            <a:off x="0" y="2923952"/>
            <a:ext cx="9144000" cy="350874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de-DE" noProof="0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9144000" cy="18424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de-DE" kern="0">
              <a:solidFill>
                <a:sysClr val="window" lastClr="FFFFFF"/>
              </a:solidFill>
              <a:latin typeface="Tahoma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0" y="5015552"/>
            <a:ext cx="9144000" cy="18424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de-DE" kern="0">
              <a:solidFill>
                <a:sysClr val="window" lastClr="FFFFFF"/>
              </a:solidFill>
              <a:latin typeface="Tahoma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680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6FA93B"/>
                </a:solidFill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32245"/>
            <a:ext cx="8222817" cy="787402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FA93B"/>
              </a:buClr>
              <a:defRPr/>
            </a:lvl1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1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3697926"/>
      </p:ext>
    </p:extLst>
  </p:cSld>
  <p:clrMapOvr>
    <a:masterClrMapping/>
  </p:clrMapOvr>
  <p:transition spd="slow">
    <p:push dir="u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199" y="1431925"/>
            <a:ext cx="2660073" cy="442162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8" y="1431925"/>
            <a:ext cx="5194444" cy="4410075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8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-100013" y="6481763"/>
            <a:ext cx="2895601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© subreport Verlag Schawe GmbH 11/2010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-100013" y="6481763"/>
            <a:ext cx="2895601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© subreport Verlag Schawe GmbH 11/2010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  <p:transition spd="slow">
    <p:push dir="u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/>
          <p:cNvSpPr>
            <a:spLocks noGrp="1"/>
          </p:cNvSpPr>
          <p:nvPr>
            <p:ph type="chart" sz="half" idx="1"/>
          </p:nvPr>
        </p:nvSpPr>
        <p:spPr>
          <a:xfrm>
            <a:off x="0" y="2923952"/>
            <a:ext cx="9144000" cy="350874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de-DE" noProof="0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21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275" y="660400"/>
            <a:ext cx="19304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27381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FFC900"/>
                </a:solidFill>
                <a:latin typeface="Arial" pitchFamily="34" charset="0"/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9144000" cy="18424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de-DE" kern="0">
              <a:solidFill>
                <a:sysClr val="window" lastClr="FFFFFF"/>
              </a:solidFill>
              <a:latin typeface="Tahoma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0" y="5015552"/>
            <a:ext cx="9144000" cy="18424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de-DE" kern="0">
              <a:solidFill>
                <a:sysClr val="window" lastClr="FFFFFF"/>
              </a:solidFill>
              <a:latin typeface="Tahoma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680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6FA93B"/>
                </a:solidFill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32245"/>
            <a:ext cx="8222817" cy="787402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FA93B"/>
              </a:buClr>
              <a:defRPr/>
            </a:lvl1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1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199" y="1431925"/>
            <a:ext cx="2660073" cy="442162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8" y="1431925"/>
            <a:ext cx="5194444" cy="4410075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8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-100013" y="6481763"/>
            <a:ext cx="2895601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© subreport Verlag Schawe GmbH 11/2010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-100013" y="6481763"/>
            <a:ext cx="2895601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© subreport Verlag Schawe GmbH 11/2010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1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20700"/>
            <a:ext cx="8234362" cy="736602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9738" y="1431925"/>
            <a:ext cx="8247062" cy="4397377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>
          <a:ln>
            <a:noFill/>
          </a:ln>
        </p:spPr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90FD8291-2DD1-414C-B199-22C988415C75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/>
          <p:cNvSpPr>
            <a:spLocks noGrp="1"/>
          </p:cNvSpPr>
          <p:nvPr>
            <p:ph type="chart" sz="half" idx="1"/>
          </p:nvPr>
        </p:nvSpPr>
        <p:spPr>
          <a:xfrm>
            <a:off x="0" y="2923952"/>
            <a:ext cx="9144000" cy="350874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de-DE" noProof="0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9144000" cy="18424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de-DE" kern="0">
              <a:solidFill>
                <a:sysClr val="window" lastClr="FFFFFF"/>
              </a:solidFill>
              <a:latin typeface="Tahoma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0" y="5015552"/>
            <a:ext cx="9144000" cy="18424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de-DE" kern="0">
              <a:solidFill>
                <a:sysClr val="window" lastClr="FFFFFF"/>
              </a:solidFill>
              <a:latin typeface="Tahoma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680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6FA93B"/>
                </a:solidFill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738" y="532245"/>
            <a:ext cx="8222817" cy="787402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6FA93B"/>
              </a:buClr>
              <a:defRPr/>
            </a:lvl1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1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Inhaltsplatzhalter 12"/>
          <p:cNvSpPr>
            <a:spLocks noGrp="1"/>
          </p:cNvSpPr>
          <p:nvPr>
            <p:ph sz="quarter" idx="13"/>
          </p:nvPr>
        </p:nvSpPr>
        <p:spPr>
          <a:xfrm>
            <a:off x="6045199" y="1431925"/>
            <a:ext cx="2660073" cy="442162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39738" y="1431925"/>
            <a:ext cx="5194444" cy="4410075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8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6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21" descr="FOKUS_300dpi_CMYK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7" name="Foliennummernplatzhalter 8"/>
          <p:cNvSpPr>
            <a:spLocks noGrp="1"/>
          </p:cNvSpPr>
          <p:nvPr>
            <p:ph type="sldNum" sz="quarter" idx="10"/>
          </p:nvPr>
        </p:nvSpPr>
        <p:spPr>
          <a:ln>
            <a:noFill/>
          </a:ln>
        </p:spPr>
        <p:txBody>
          <a:bodyPr/>
          <a:lstStyle>
            <a:lvl1pPr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B1945FF9-3F10-4EB2-AEA1-287E4098B1B9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439738" y="1431925"/>
            <a:ext cx="3901353" cy="4467802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5"/>
          <p:cNvSpPr>
            <a:spLocks noGrp="1"/>
          </p:cNvSpPr>
          <p:nvPr>
            <p:ph sz="quarter" idx="4"/>
          </p:nvPr>
        </p:nvSpPr>
        <p:spPr>
          <a:xfrm>
            <a:off x="4733636" y="1431925"/>
            <a:ext cx="3948546" cy="4467803"/>
          </a:xfrm>
        </p:spPr>
        <p:txBody>
          <a:bodyPr>
            <a:normAutofit/>
          </a:bodyPr>
          <a:lstStyle>
            <a:lvl1pPr>
              <a:defRPr sz="1600">
                <a:latin typeface="Arial" pitchFamily="34" charset="0"/>
              </a:defRPr>
            </a:lvl1pPr>
            <a:lvl2pPr>
              <a:defRPr sz="1600">
                <a:latin typeface="Arial" pitchFamily="34" charset="0"/>
              </a:defRPr>
            </a:lvl2pPr>
            <a:lvl3pPr>
              <a:defRPr sz="1600">
                <a:latin typeface="Arial" pitchFamily="34" charset="0"/>
              </a:defRPr>
            </a:lvl3pPr>
            <a:lvl4pPr>
              <a:defRPr sz="1600">
                <a:latin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-100013" y="6481763"/>
            <a:ext cx="2895601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© subreport Verlag Schawe GmbH 11/2010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-100013" y="6481763"/>
            <a:ext cx="2895601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© subreport Verlag Schawe GmbH 11/2010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  <p:transition spd="slow">
    <p:push dir="u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C ELAN_Inhalt_Stichpunkte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720000"/>
            <a:ext cx="8280000" cy="720000"/>
          </a:xfrm>
        </p:spPr>
        <p:txBody>
          <a:bodyPr/>
          <a:lstStyle>
            <a:lvl1pPr>
              <a:defRPr baseline="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000" y="1715388"/>
            <a:ext cx="3960000" cy="4410000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4"/>
          </p:nvPr>
        </p:nvSpPr>
        <p:spPr>
          <a:xfrm>
            <a:off x="432000" y="1715388"/>
            <a:ext cx="3960000" cy="441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4pPr>
              <a:buFont typeface="Symbol" pitchFamily="18" charset="2"/>
              <a:buChar char="-"/>
              <a:defRPr/>
            </a:lvl4pPr>
            <a:lvl5pPr>
              <a:defRPr/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/>
          <p:cNvSpPr>
            <a:spLocks noGrp="1"/>
          </p:cNvSpPr>
          <p:nvPr>
            <p:ph type="chart" sz="half" idx="1"/>
          </p:nvPr>
        </p:nvSpPr>
        <p:spPr>
          <a:xfrm>
            <a:off x="0" y="2923952"/>
            <a:ext cx="9144000" cy="350874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de-DE" noProof="0" dirty="0"/>
          </a:p>
        </p:txBody>
      </p:sp>
    </p:spTree>
  </p:cSld>
  <p:clrMapOvr>
    <a:masterClrMapping/>
  </p:clrMapOvr>
  <p:transition spd="slow">
    <p:push dir="u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0" y="0"/>
            <a:ext cx="9144000" cy="18424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de-DE" kern="0">
              <a:solidFill>
                <a:sysClr val="window" lastClr="FFFFFF"/>
              </a:solidFill>
              <a:latin typeface="Tahoma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0" y="5015552"/>
            <a:ext cx="9144000" cy="18424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de-DE" kern="0">
              <a:solidFill>
                <a:sysClr val="window" lastClr="FFFFFF"/>
              </a:solidFill>
              <a:latin typeface="Tahoma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4680" y="3007361"/>
            <a:ext cx="7772400" cy="421640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680" y="5715000"/>
            <a:ext cx="7960360" cy="269240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B9C7D"/>
              </a:buClr>
              <a:buSzPct val="120000"/>
              <a:buFont typeface="Wingdings" charset="2"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0396" y="3439161"/>
            <a:ext cx="5140325" cy="441959"/>
          </a:xfrm>
        </p:spPr>
        <p:txBody>
          <a:bodyPr>
            <a:normAutofit/>
          </a:bodyPr>
          <a:lstStyle>
            <a:lvl1pPr>
              <a:buNone/>
              <a:defRPr sz="2000">
                <a:solidFill>
                  <a:srgbClr val="6FA93B"/>
                </a:solidFill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5" name="Foliennummernplatzhalter 4"/>
          <p:cNvSpPr txBox="1">
            <a:spLocks/>
          </p:cNvSpPr>
          <p:nvPr userDrawn="1"/>
        </p:nvSpPr>
        <p:spPr>
          <a:xfrm>
            <a:off x="8591550" y="6488113"/>
            <a:ext cx="5715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defTabSz="914400">
              <a:defRPr/>
            </a:pPr>
            <a:fld id="{6347EF58-E862-45A9-B0F7-7E7F2E55CB4D}" type="slidenum">
              <a:rPr lang="de-DE" sz="1200" smtClean="0">
                <a:solidFill>
                  <a:srgbClr val="B8B8B8"/>
                </a:solidFill>
                <a:latin typeface="Tahoma" pitchFamily="34" charset="0"/>
                <a:cs typeface="Tahoma" pitchFamily="34" charset="0"/>
              </a:rPr>
              <a:pPr algn="r" defTabSz="914400">
                <a:defRPr/>
              </a:pPr>
              <a:t>‹Nr.›</a:t>
            </a:fld>
            <a:endParaRPr lang="de-DE" sz="1200" dirty="0">
              <a:solidFill>
                <a:srgbClr val="B8B8B8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86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image" Target="../media/image1.wmf"/><Relationship Id="rId2" Type="http://schemas.openxmlformats.org/officeDocument/2006/relationships/slideLayout" Target="../slideLayouts/slideLayout100.xml"/><Relationship Id="rId16" Type="http://schemas.openxmlformats.org/officeDocument/2006/relationships/theme" Target="../theme/theme13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4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4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0" y="6326188"/>
            <a:ext cx="91440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rgbClr val="B8B8B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BC5B9C8-CF61-4C3F-9E32-498DA81E660B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27" name="Titelplatzhalter 1"/>
          <p:cNvSpPr>
            <a:spLocks noGrp="1"/>
          </p:cNvSpPr>
          <p:nvPr>
            <p:ph type="title"/>
          </p:nvPr>
        </p:nvSpPr>
        <p:spPr bwMode="auto">
          <a:xfrm>
            <a:off x="444500" y="520700"/>
            <a:ext cx="82296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56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658E0C"/>
              </a:solidFill>
              <a:latin typeface="Arial" pitchFamily="34" charset="0"/>
              <a:ea typeface="+mn-ea"/>
            </a:endParaRPr>
          </a:p>
        </p:txBody>
      </p:sp>
      <p:sp>
        <p:nvSpPr>
          <p:cNvPr id="26" name="Rechteck 25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rgbClr val="6FA93B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7" name="Rechteck 26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rgbClr val="00ACD3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8" name="Rechteck 27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rgbClr val="114594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9" name="Rechteck 28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rgbClr val="F08A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0" name="Rechteck 29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rgbClr val="FABB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1" name="Rechteck 30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rgbClr val="8E026C"/>
          </a:solidFill>
          <a:ln w="0" cap="flat" cmpd="sng" algn="ctr">
            <a:solidFill>
              <a:srgbClr val="9B348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rgbClr val="D4021D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33" name="Grafik 31" descr="fokus_rgb_nur signet.wmf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905" r:id="rId6"/>
  </p:sldLayoutIdLst>
  <p:transition spd="slow">
    <p:push dir="u"/>
  </p:transition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spcBef>
          <a:spcPct val="20000"/>
        </a:spcBef>
        <a:spcAft>
          <a:spcPct val="0"/>
        </a:spcAft>
        <a:buClr>
          <a:srgbClr val="1B9C7D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B3B3B3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34362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stertitelformat bearbeiten</a:t>
            </a:r>
          </a:p>
        </p:txBody>
      </p:sp>
      <p:sp>
        <p:nvSpPr>
          <p:cNvPr id="819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tsertextformat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658E0C"/>
              </a:solidFill>
              <a:latin typeface="Calibri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3" name="Rechteck 32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4" name="Rechteck 33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chemeClr val="accent6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5" name="Rechteck 34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6" name="Rechteck 35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7" name="Rechteck 36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chemeClr val="accent5"/>
          </a:solidFill>
          <a:ln w="0">
            <a:solidFill>
              <a:srgbClr val="9B34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8" name="Rechteck 37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chemeClr val="accent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pic>
        <p:nvPicPr>
          <p:cNvPr id="8206" name="Grafik 31" descr="fokus_rgb_nur signet.wmf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7" name="Bild 5" descr="FOKUS_300dpi_CMYK.jp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SzPct val="90000"/>
        <a:buFont typeface="Wingdings 2" pitchFamily="18" charset="2"/>
        <a:buChar char="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1pPr>
      <a:lvl2pPr marL="742950" indent="-28575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Font typeface="Arial" pitchFamily="34" charset="0"/>
        <a:buChar char="–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2pPr>
      <a:lvl3pPr marL="11430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SzPct val="90000"/>
        <a:buFont typeface="Wingdings 2" pitchFamily="18" charset="2"/>
        <a:buChar char="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3pPr>
      <a:lvl4pPr marL="16002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Font typeface="Arial" pitchFamily="34" charset="0"/>
        <a:buChar char="–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34362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stertitelformat bearbeiten</a:t>
            </a:r>
          </a:p>
        </p:txBody>
      </p:sp>
      <p:sp>
        <p:nvSpPr>
          <p:cNvPr id="819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tsertextformat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658E0C"/>
              </a:solidFill>
              <a:latin typeface="Calibri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3" name="Rechteck 32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4" name="Rechteck 33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chemeClr val="accent6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5" name="Rechteck 34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6" name="Rechteck 35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7" name="Rechteck 36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chemeClr val="accent5"/>
          </a:solidFill>
          <a:ln w="0">
            <a:solidFill>
              <a:srgbClr val="9B34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8" name="Rechteck 37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chemeClr val="accent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pic>
        <p:nvPicPr>
          <p:cNvPr id="8206" name="Grafik 31" descr="fokus_rgb_nur signet.wmf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7" name="Bild 5" descr="FOKUS_300dpi_CMYK.jp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SzPct val="90000"/>
        <a:buFont typeface="Wingdings 2" pitchFamily="18" charset="2"/>
        <a:buChar char="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1pPr>
      <a:lvl2pPr marL="742950" indent="-28575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Font typeface="Arial" pitchFamily="34" charset="0"/>
        <a:buChar char="–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2pPr>
      <a:lvl3pPr marL="11430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SzPct val="90000"/>
        <a:buFont typeface="Wingdings 2" pitchFamily="18" charset="2"/>
        <a:buChar char="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3pPr>
      <a:lvl4pPr marL="16002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Font typeface="Arial" pitchFamily="34" charset="0"/>
        <a:buChar char="–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34362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stertitelformat bearbeiten</a:t>
            </a:r>
          </a:p>
        </p:txBody>
      </p:sp>
      <p:sp>
        <p:nvSpPr>
          <p:cNvPr id="819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tsertextformat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658E0C"/>
              </a:solidFill>
              <a:latin typeface="Calibri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3" name="Rechteck 32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4" name="Rechteck 33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chemeClr val="accent6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5" name="Rechteck 34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6" name="Rechteck 35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7" name="Rechteck 36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chemeClr val="accent5"/>
          </a:solidFill>
          <a:ln w="0">
            <a:solidFill>
              <a:srgbClr val="9B34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8" name="Rechteck 37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chemeClr val="accent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pic>
        <p:nvPicPr>
          <p:cNvPr id="8206" name="Grafik 31" descr="fokus_rgb_nur signet.wmf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7" name="Bild 5" descr="FOKUS_300dpi_CMYK.jp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3" r:id="rId7"/>
    <p:sldLayoutId id="2147483964" r:id="rId8"/>
    <p:sldLayoutId id="2147483965" r:id="rId9"/>
    <p:sldLayoutId id="2147483966" r:id="rId10"/>
    <p:sldLayoutId id="2147483967" r:id="rId11"/>
    <p:sldLayoutId id="2147483968" r:id="rId12"/>
    <p:sldLayoutId id="2147483969" r:id="rId13"/>
    <p:sldLayoutId id="2147483970" r:id="rId14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SzPct val="90000"/>
        <a:buFont typeface="Wingdings 2" pitchFamily="18" charset="2"/>
        <a:buChar char="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1pPr>
      <a:lvl2pPr marL="742950" indent="-28575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Font typeface="Arial" pitchFamily="34" charset="0"/>
        <a:buChar char="–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2pPr>
      <a:lvl3pPr marL="11430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SzPct val="90000"/>
        <a:buFont typeface="Wingdings 2" pitchFamily="18" charset="2"/>
        <a:buChar char="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3pPr>
      <a:lvl4pPr marL="16002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Font typeface="Arial" pitchFamily="34" charset="0"/>
        <a:buChar char="–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34362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stertitelformat bearbeiten</a:t>
            </a:r>
          </a:p>
        </p:txBody>
      </p:sp>
      <p:sp>
        <p:nvSpPr>
          <p:cNvPr id="819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tsertextformat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658E0C"/>
              </a:solidFill>
              <a:latin typeface="Calibri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3" name="Rechteck 32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4" name="Rechteck 33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chemeClr val="accent6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5" name="Rechteck 34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6" name="Rechteck 35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7" name="Rechteck 36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chemeClr val="accent5"/>
          </a:solidFill>
          <a:ln w="0">
            <a:solidFill>
              <a:srgbClr val="9B34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8" name="Rechteck 37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chemeClr val="accent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pic>
        <p:nvPicPr>
          <p:cNvPr id="8206" name="Grafik 31" descr="fokus_rgb_nur signet.wmf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7" name="Bild 5" descr="FOKUS_300dpi_CMYK.jpg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3984" r:id="rId13"/>
    <p:sldLayoutId id="2147483985" r:id="rId14"/>
    <p:sldLayoutId id="2147483986" r:id="rId15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SzPct val="90000"/>
        <a:buFont typeface="Wingdings 2" pitchFamily="18" charset="2"/>
        <a:buChar char="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1pPr>
      <a:lvl2pPr marL="742950" indent="-28575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Font typeface="Arial" pitchFamily="34" charset="0"/>
        <a:buChar char="–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2pPr>
      <a:lvl3pPr marL="11430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SzPct val="90000"/>
        <a:buFont typeface="Wingdings 2" pitchFamily="18" charset="2"/>
        <a:buChar char="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3pPr>
      <a:lvl4pPr marL="16002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Font typeface="Arial" pitchFamily="34" charset="0"/>
        <a:buChar char="–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0" y="6326188"/>
            <a:ext cx="9144000" cy="3651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rgbClr val="B8B8B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16D8C1B-DCB6-40D9-8066-3355AA8A8DAE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051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20700"/>
            <a:ext cx="8242444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2052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6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40450"/>
            <a:ext cx="9144000" cy="1588"/>
          </a:xfrm>
          <a:prstGeom prst="line">
            <a:avLst/>
          </a:prstGeom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658E0C"/>
              </a:solidFill>
              <a:latin typeface="Arial" pitchFamily="34" charset="0"/>
              <a:ea typeface="+mn-ea"/>
            </a:endParaRPr>
          </a:p>
        </p:txBody>
      </p:sp>
      <p:sp>
        <p:nvSpPr>
          <p:cNvPr id="30" name="Rechteck 29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rgbClr val="6FA93B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1" name="Rechteck 30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rgbClr val="00ACD3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rgbClr val="114594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3" name="Rechteck 32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rgbClr val="F08A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4" name="Rechteck 33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rgbClr val="FABB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5" name="Rechteck 34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rgbClr val="8E026C"/>
          </a:solidFill>
          <a:ln w="0" cap="flat" cmpd="sng" algn="ctr">
            <a:solidFill>
              <a:srgbClr val="9B348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6" name="Rechteck 35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rgbClr val="D4021D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37" name="Grafik 31" descr="fokus_rgb_nur signet.wmf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</p:sldLayoutIdLst>
  <p:transition spd="slow">
    <p:push dir="u"/>
  </p:transition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spcBef>
          <a:spcPct val="20000"/>
        </a:spcBef>
        <a:spcAft>
          <a:spcPct val="0"/>
        </a:spcAft>
        <a:buClr>
          <a:srgbClr val="FFC900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B3B3B3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0" y="6326188"/>
            <a:ext cx="91440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rgbClr val="B8B8B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6E3E981-70F0-4F14-955D-4B197D06626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20700"/>
            <a:ext cx="8234362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658E0C"/>
              </a:solidFill>
              <a:latin typeface="Arial" pitchFamily="34" charset="0"/>
              <a:ea typeface="+mn-ea"/>
            </a:endParaRPr>
          </a:p>
        </p:txBody>
      </p:sp>
      <p:sp>
        <p:nvSpPr>
          <p:cNvPr id="31" name="Rechteck 30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rgbClr val="6FA93B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rgbClr val="00ACD3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3" name="Rechteck 32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rgbClr val="114594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4" name="Rechteck 33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rgbClr val="F08A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5" name="Rechteck 34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rgbClr val="FABB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6" name="Rechteck 35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rgbClr val="8E026C"/>
          </a:solidFill>
          <a:ln w="0" cap="flat" cmpd="sng" algn="ctr">
            <a:solidFill>
              <a:srgbClr val="9B348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7" name="Rechteck 36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rgbClr val="D4021D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38" name="Grafik 31" descr="fokus_rgb_nur signet.wmf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</p:sldLayoutIdLst>
  <p:transition spd="slow">
    <p:push dir="u"/>
  </p:transition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spcBef>
          <a:spcPct val="20000"/>
        </a:spcBef>
        <a:spcAft>
          <a:spcPct val="0"/>
        </a:spcAft>
        <a:buClr>
          <a:srgbClr val="FF8F00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B3B3B3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0" y="6326188"/>
            <a:ext cx="91440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rgbClr val="B8B8B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1BCA55F-7719-462E-AA7A-BDBCCC7D274D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4099" name="Titelplatzhalter 1"/>
          <p:cNvSpPr>
            <a:spLocks noGrp="1"/>
          </p:cNvSpPr>
          <p:nvPr>
            <p:ph type="title"/>
          </p:nvPr>
        </p:nvSpPr>
        <p:spPr bwMode="auto">
          <a:xfrm>
            <a:off x="444500" y="520700"/>
            <a:ext cx="8229600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4100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473200"/>
            <a:ext cx="8229600" cy="436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31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658E0C"/>
              </a:solidFill>
              <a:latin typeface="Arial" pitchFamily="34" charset="0"/>
              <a:ea typeface="+mn-ea"/>
            </a:endParaRPr>
          </a:p>
        </p:txBody>
      </p:sp>
      <p:sp>
        <p:nvSpPr>
          <p:cNvPr id="31" name="Rechteck 30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rgbClr val="6FA93B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rgbClr val="00ACD3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3" name="Rechteck 32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rgbClr val="114594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4" name="Rechteck 33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rgbClr val="F08A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5" name="Rechteck 34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rgbClr val="FABB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6" name="Rechteck 35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rgbClr val="8E026C"/>
          </a:solidFill>
          <a:ln w="0" cap="flat" cmpd="sng" algn="ctr">
            <a:solidFill>
              <a:srgbClr val="9B348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7" name="Rechteck 36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rgbClr val="D4021D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38" name="Grafik 31" descr="fokus_rgb_nur signet.wmf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</p:sldLayoutIdLst>
  <p:transition spd="slow">
    <p:push dir="u"/>
  </p:transition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spcBef>
          <a:spcPct val="20000"/>
        </a:spcBef>
        <a:spcAft>
          <a:spcPct val="0"/>
        </a:spcAft>
        <a:buClr>
          <a:srgbClr val="CC1F2F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B3B3B3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0" y="6326188"/>
            <a:ext cx="91440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rgbClr val="B8B8B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C09E800-C8A0-44B9-ADBB-C4FFB652BEAA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5123" name="Titelplatzhalter 1"/>
          <p:cNvSpPr>
            <a:spLocks noGrp="1"/>
          </p:cNvSpPr>
          <p:nvPr>
            <p:ph type="title"/>
          </p:nvPr>
        </p:nvSpPr>
        <p:spPr bwMode="auto">
          <a:xfrm>
            <a:off x="446088" y="520700"/>
            <a:ext cx="82296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5124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2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658E0C"/>
              </a:solidFill>
              <a:latin typeface="Arial" pitchFamily="34" charset="0"/>
              <a:ea typeface="+mn-ea"/>
            </a:endParaRPr>
          </a:p>
        </p:txBody>
      </p:sp>
      <p:sp>
        <p:nvSpPr>
          <p:cNvPr id="39" name="Rechteck 38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rgbClr val="6FA93B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0" name="Rechteck 39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rgbClr val="00ACD3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1" name="Rechteck 40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rgbClr val="114594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2" name="Rechteck 41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rgbClr val="F08A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3" name="Rechteck 42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rgbClr val="FABB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4" name="Rechteck 43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rgbClr val="8E026C"/>
          </a:solidFill>
          <a:ln w="0" cap="flat" cmpd="sng" algn="ctr">
            <a:solidFill>
              <a:srgbClr val="9B348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5" name="Rechteck 44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rgbClr val="D4021D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46" name="Grafik 31" descr="fokus_rgb_nur signet.wmf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</p:sldLayoutIdLst>
  <p:transition spd="slow">
    <p:push dir="u"/>
  </p:transition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spcBef>
          <a:spcPct val="20000"/>
        </a:spcBef>
        <a:spcAft>
          <a:spcPct val="0"/>
        </a:spcAft>
        <a:buClr>
          <a:srgbClr val="9B348E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B3B3B3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0" y="6326188"/>
            <a:ext cx="91440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rgbClr val="B8B8B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2BB8B8A-41B3-4F50-8BE1-BDD98440C40B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147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20700"/>
            <a:ext cx="8234362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6148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2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658E0C"/>
              </a:solidFill>
              <a:latin typeface="Arial" pitchFamily="34" charset="0"/>
              <a:ea typeface="+mn-ea"/>
            </a:endParaRPr>
          </a:p>
        </p:txBody>
      </p:sp>
      <p:sp>
        <p:nvSpPr>
          <p:cNvPr id="39" name="Rechteck 38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rgbClr val="6FA93B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0" name="Rechteck 39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rgbClr val="00ACD3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1" name="Rechteck 40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rgbClr val="114594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2" name="Rechteck 41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rgbClr val="F08A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3" name="Rechteck 42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rgbClr val="FABB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4" name="Rechteck 43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rgbClr val="8E026C"/>
          </a:solidFill>
          <a:ln w="0" cap="flat" cmpd="sng" algn="ctr">
            <a:solidFill>
              <a:srgbClr val="9B348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5" name="Rechteck 44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rgbClr val="D4021D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46" name="Grafik 31" descr="fokus_rgb_nur signet.wmf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</p:sldLayoutIdLst>
  <p:transition spd="slow">
    <p:push dir="u"/>
  </p:transition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spcBef>
          <a:spcPct val="20000"/>
        </a:spcBef>
        <a:spcAft>
          <a:spcPct val="0"/>
        </a:spcAft>
        <a:buClr>
          <a:srgbClr val="2F53A7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B3B3B3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0" y="6326188"/>
            <a:ext cx="91440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rgbClr val="B8B8B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11CEAE3-F6D6-4A71-BF5F-207FB39D149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171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15312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7172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658E0C"/>
              </a:solidFill>
              <a:latin typeface="Arial" pitchFamily="34" charset="0"/>
              <a:ea typeface="+mn-ea"/>
            </a:endParaRPr>
          </a:p>
        </p:txBody>
      </p:sp>
      <p:sp>
        <p:nvSpPr>
          <p:cNvPr id="31" name="Rechteck 30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rgbClr val="6FA93B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rgbClr val="00ACD3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3" name="Rechteck 32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rgbClr val="114594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4" name="Rechteck 33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rgbClr val="F08A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5" name="Rechteck 34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rgbClr val="FABB00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6" name="Rechteck 35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rgbClr val="8E026C"/>
          </a:solidFill>
          <a:ln w="0" cap="flat" cmpd="sng" algn="ctr">
            <a:solidFill>
              <a:srgbClr val="9B348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7" name="Rechteck 36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rgbClr val="D4021D"/>
          </a:solidFill>
          <a:ln w="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38" name="Grafik 31" descr="fokus_rgb_nur signet.wmf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903" r:id="rId5"/>
    <p:sldLayoutId id="2147483895" r:id="rId6"/>
  </p:sldLayoutIdLst>
  <p:transition spd="slow">
    <p:push dir="u"/>
  </p:transition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spcBef>
          <a:spcPct val="20000"/>
        </a:spcBef>
        <a:spcAft>
          <a:spcPct val="0"/>
        </a:spcAft>
        <a:buClr>
          <a:srgbClr val="23ACD3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B3B3B3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0" y="6326188"/>
            <a:ext cx="91440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rgbClr val="B8B8B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347EF58-E862-45A9-B0F7-7E7F2E55CB4D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8195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34362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stertitelformat bearbeiten</a:t>
            </a:r>
          </a:p>
        </p:txBody>
      </p:sp>
      <p:sp>
        <p:nvSpPr>
          <p:cNvPr id="819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stertextformat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658E0C"/>
              </a:solidFill>
              <a:latin typeface="Arial" pitchFamily="34" charset="0"/>
              <a:ea typeface="+mn-ea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3" name="Rechteck 32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4" name="Rechteck 33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chemeClr val="accent6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5" name="Rechteck 34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6" name="Rechteck 35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7" name="Rechteck 36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chemeClr val="accent5"/>
          </a:solidFill>
          <a:ln w="0">
            <a:solidFill>
              <a:srgbClr val="9B34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8" name="Rechteck 37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chemeClr val="accent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8206" name="Grafik 31" descr="fokus_rgb_nur signet.wmf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7" name="Bild 5" descr="FOKUS_300dpi_CMYK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</p:sldLayoutIdLst>
  <p:transition spd="slow">
    <p:push dir="u"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7FC615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1pPr>
      <a:lvl2pPr marL="742950" indent="-28575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2pPr>
      <a:lvl3pPr marL="11430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B3B3B3"/>
        </a:buClr>
        <a:buSzPct val="12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3pPr>
      <a:lvl4pPr marL="16002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46" charset="-128"/>
          <a:cs typeface="Arial" pitchFamily="34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itelplatzhalter 1"/>
          <p:cNvSpPr>
            <a:spLocks noGrp="1"/>
          </p:cNvSpPr>
          <p:nvPr>
            <p:ph type="title"/>
          </p:nvPr>
        </p:nvSpPr>
        <p:spPr bwMode="auto">
          <a:xfrm>
            <a:off x="439738" y="532245"/>
            <a:ext cx="8234362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stertitelformat bearbeiten</a:t>
            </a:r>
          </a:p>
        </p:txBody>
      </p:sp>
      <p:sp>
        <p:nvSpPr>
          <p:cNvPr id="819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39738" y="1431925"/>
            <a:ext cx="8247062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Matsertextformat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127750"/>
            <a:ext cx="9144000" cy="1588"/>
          </a:xfrm>
          <a:prstGeom prst="line">
            <a:avLst/>
          </a:prstGeom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0" y="0"/>
            <a:ext cx="9156700" cy="2286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658E0C"/>
              </a:solidFill>
              <a:latin typeface="Calibri"/>
            </a:endParaRPr>
          </a:p>
        </p:txBody>
      </p:sp>
      <p:sp>
        <p:nvSpPr>
          <p:cNvPr id="32" name="Rechteck 31"/>
          <p:cNvSpPr/>
          <p:nvPr userDrawn="1"/>
        </p:nvSpPr>
        <p:spPr bwMode="auto">
          <a:xfrm>
            <a:off x="8139113" y="6400800"/>
            <a:ext cx="200025" cy="215900"/>
          </a:xfrm>
          <a:prstGeom prst="rect">
            <a:avLst/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3" name="Rechteck 32"/>
          <p:cNvSpPr/>
          <p:nvPr userDrawn="1"/>
        </p:nvSpPr>
        <p:spPr bwMode="auto">
          <a:xfrm>
            <a:off x="7788275" y="6400800"/>
            <a:ext cx="198438" cy="215900"/>
          </a:xfrm>
          <a:prstGeom prst="rect">
            <a:avLst/>
          </a:prstGeom>
          <a:solidFill>
            <a:schemeClr val="tx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4" name="Rechteck 33"/>
          <p:cNvSpPr/>
          <p:nvPr userDrawn="1"/>
        </p:nvSpPr>
        <p:spPr bwMode="auto">
          <a:xfrm>
            <a:off x="7435850" y="6400800"/>
            <a:ext cx="200025" cy="215900"/>
          </a:xfrm>
          <a:prstGeom prst="rect">
            <a:avLst/>
          </a:prstGeom>
          <a:solidFill>
            <a:schemeClr val="accent6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5" name="Rechteck 34"/>
          <p:cNvSpPr/>
          <p:nvPr userDrawn="1"/>
        </p:nvSpPr>
        <p:spPr bwMode="auto">
          <a:xfrm>
            <a:off x="6381750" y="6400800"/>
            <a:ext cx="198438" cy="215900"/>
          </a:xfrm>
          <a:prstGeom prst="rect">
            <a:avLst/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6" name="Rechteck 35"/>
          <p:cNvSpPr/>
          <p:nvPr userDrawn="1"/>
        </p:nvSpPr>
        <p:spPr bwMode="auto">
          <a:xfrm>
            <a:off x="6029325" y="6400800"/>
            <a:ext cx="200025" cy="215900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7" name="Rechteck 36"/>
          <p:cNvSpPr/>
          <p:nvPr userDrawn="1"/>
        </p:nvSpPr>
        <p:spPr bwMode="auto">
          <a:xfrm>
            <a:off x="7085013" y="6400800"/>
            <a:ext cx="198437" cy="215900"/>
          </a:xfrm>
          <a:prstGeom prst="rect">
            <a:avLst/>
          </a:prstGeom>
          <a:solidFill>
            <a:schemeClr val="accent5"/>
          </a:solidFill>
          <a:ln w="0">
            <a:solidFill>
              <a:srgbClr val="9B34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38" name="Rechteck 37"/>
          <p:cNvSpPr/>
          <p:nvPr userDrawn="1"/>
        </p:nvSpPr>
        <p:spPr bwMode="auto">
          <a:xfrm>
            <a:off x="6732588" y="6400800"/>
            <a:ext cx="200025" cy="215900"/>
          </a:xfrm>
          <a:prstGeom prst="rect">
            <a:avLst/>
          </a:prstGeom>
          <a:solidFill>
            <a:schemeClr val="accent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>
              <a:solidFill>
                <a:srgbClr val="FFFFFF"/>
              </a:solidFill>
            </a:endParaRPr>
          </a:p>
        </p:txBody>
      </p:sp>
      <p:pic>
        <p:nvPicPr>
          <p:cNvPr id="8206" name="Grafik 31" descr="fokus_rgb_nur signet.wmf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25" y="6400800"/>
            <a:ext cx="214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7" name="Bild 5" descr="FOKUS_300dpi_CMYK.jp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988" y="6292850"/>
            <a:ext cx="1193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  <a:cs typeface="Tahom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Tahoma" pitchFamily="34" charset="0"/>
          <a:ea typeface="ＭＳ Ｐゴシック" pitchFamily="46" charset="-128"/>
        </a:defRPr>
      </a:lvl9pPr>
    </p:titleStyle>
    <p:bodyStyle>
      <a:lvl1pPr marL="263525" indent="-263525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SzPct val="90000"/>
        <a:buFont typeface="Wingdings 2" pitchFamily="18" charset="2"/>
        <a:buChar char="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1pPr>
      <a:lvl2pPr marL="742950" indent="-28575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Font typeface="Arial" pitchFamily="34" charset="0"/>
        <a:buChar char="–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2pPr>
      <a:lvl3pPr marL="11430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SzPct val="90000"/>
        <a:buFont typeface="Wingdings 2" pitchFamily="18" charset="2"/>
        <a:buChar char="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3pPr>
      <a:lvl4pPr marL="1600200" indent="-228600" algn="l" defTabSz="457200" rtl="0" eaLnBrk="0" fontAlgn="base" hangingPunct="0">
        <a:lnSpc>
          <a:spcPts val="2325"/>
        </a:lnSpc>
        <a:spcBef>
          <a:spcPct val="0"/>
        </a:spcBef>
        <a:spcAft>
          <a:spcPct val="0"/>
        </a:spcAft>
        <a:buClr>
          <a:srgbClr val="6FA93B"/>
        </a:buClr>
        <a:buFont typeface="Arial" pitchFamily="34" charset="0"/>
        <a:buChar char="–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Tahoma"/>
          <a:ea typeface="ＭＳ Ｐゴシック" pitchFamily="46" charset="-128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gi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tags" Target="../tags/tag3.xml"/><Relationship Id="rId7" Type="http://schemas.openxmlformats.org/officeDocument/2006/relationships/image" Target="../media/image35.w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4.jpeg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29.png"/><Relationship Id="rId18" Type="http://schemas.openxmlformats.org/officeDocument/2006/relationships/image" Target="../media/image54.jpe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17" Type="http://schemas.openxmlformats.org/officeDocument/2006/relationships/image" Target="../media/image53.png"/><Relationship Id="rId2" Type="http://schemas.openxmlformats.org/officeDocument/2006/relationships/notesSlide" Target="../notesSlides/notesSlide23.xml"/><Relationship Id="rId16" Type="http://schemas.openxmlformats.org/officeDocument/2006/relationships/image" Target="../media/image5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3.emf"/><Relationship Id="rId11" Type="http://schemas.openxmlformats.org/officeDocument/2006/relationships/image" Target="../media/image48.jpeg"/><Relationship Id="rId5" Type="http://schemas.openxmlformats.org/officeDocument/2006/relationships/image" Target="../media/image42.emf"/><Relationship Id="rId15" Type="http://schemas.openxmlformats.org/officeDocument/2006/relationships/image" Target="../media/image51.png"/><Relationship Id="rId10" Type="http://schemas.openxmlformats.org/officeDocument/2006/relationships/image" Target="../media/image47.png"/><Relationship Id="rId4" Type="http://schemas.openxmlformats.org/officeDocument/2006/relationships/image" Target="../media/image41.emf"/><Relationship Id="rId9" Type="http://schemas.openxmlformats.org/officeDocument/2006/relationships/image" Target="../media/image46.png"/><Relationship Id="rId1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15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14.jpeg"/><Relationship Id="rId4" Type="http://schemas.openxmlformats.org/officeDocument/2006/relationships/diagramData" Target="../diagrams/data1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Bild 5" descr="DSC_2401_low_res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409700"/>
            <a:ext cx="9156700" cy="485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-2" y="4583289"/>
            <a:ext cx="9156702" cy="1677811"/>
          </a:xfrm>
          <a:prstGeom prst="rect">
            <a:avLst/>
          </a:prstGeom>
          <a:solidFill>
            <a:schemeClr val="bg1">
              <a:alpha val="72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 dirty="0">
              <a:solidFill>
                <a:sysClr val="window" lastClr="FFFFFF"/>
              </a:solidFill>
              <a:ea typeface="+mn-ea"/>
            </a:endParaRPr>
          </a:p>
        </p:txBody>
      </p:sp>
      <p:sp>
        <p:nvSpPr>
          <p:cNvPr id="57348" name="Titel 6"/>
          <p:cNvSpPr>
            <a:spLocks noGrp="1"/>
          </p:cNvSpPr>
          <p:nvPr>
            <p:ph type="ctrTitle"/>
          </p:nvPr>
        </p:nvSpPr>
        <p:spPr>
          <a:xfrm>
            <a:off x="391157" y="4802009"/>
            <a:ext cx="7862887" cy="706969"/>
          </a:xfrm>
        </p:spPr>
        <p:txBody>
          <a:bodyPr/>
          <a:lstStyle/>
          <a:p>
            <a:pPr eaLnBrk="1" hangingPunct="1"/>
            <a:r>
              <a:rPr lang="en-IE" b="1" dirty="0" smtClean="0"/>
              <a:t>No Smart City without Smart Government</a:t>
            </a:r>
            <a:endParaRPr lang="de-DE" b="1" dirty="0"/>
          </a:p>
        </p:txBody>
      </p:sp>
      <p:sp>
        <p:nvSpPr>
          <p:cNvPr id="57349" name="Textplatzhalter 71"/>
          <p:cNvSpPr>
            <a:spLocks noGrp="1"/>
          </p:cNvSpPr>
          <p:nvPr>
            <p:ph type="body" sz="quarter" idx="13"/>
          </p:nvPr>
        </p:nvSpPr>
        <p:spPr>
          <a:xfrm>
            <a:off x="404582" y="5315579"/>
            <a:ext cx="7610834" cy="745068"/>
          </a:xfrm>
        </p:spPr>
        <p:txBody>
          <a:bodyPr>
            <a:noAutofit/>
          </a:bodyPr>
          <a:lstStyle/>
          <a:p>
            <a:pPr eaLnBrk="1" hangingPunct="1"/>
            <a:r>
              <a:rPr lang="de-DE" sz="1050" b="1" dirty="0" smtClean="0">
                <a:solidFill>
                  <a:schemeClr val="tx1"/>
                </a:solidFill>
              </a:rPr>
              <a:t>Dr.-Ing. Matthias Flügge</a:t>
            </a:r>
            <a:br>
              <a:rPr lang="de-DE" sz="1050" b="1" dirty="0" smtClean="0">
                <a:solidFill>
                  <a:schemeClr val="tx1"/>
                </a:solidFill>
              </a:rPr>
            </a:br>
            <a:endParaRPr lang="de-DE" sz="1050" b="1" dirty="0">
              <a:solidFill>
                <a:schemeClr val="tx1"/>
              </a:solidFill>
            </a:endParaRPr>
          </a:p>
          <a:p>
            <a:pPr eaLnBrk="1" hangingPunct="1"/>
            <a:r>
              <a:rPr lang="de-DE" sz="1050" b="1" dirty="0" smtClean="0">
                <a:solidFill>
                  <a:schemeClr val="tx1"/>
                </a:solidFill>
              </a:rPr>
              <a:t>Fraunhofer Institute </a:t>
            </a:r>
            <a:r>
              <a:rPr lang="de-DE" sz="1050" b="1" dirty="0" err="1" smtClean="0">
                <a:solidFill>
                  <a:schemeClr val="tx1"/>
                </a:solidFill>
              </a:rPr>
              <a:t>for</a:t>
            </a:r>
            <a:r>
              <a:rPr lang="de-DE" sz="1050" b="1" dirty="0">
                <a:solidFill>
                  <a:schemeClr val="tx1"/>
                </a:solidFill>
              </a:rPr>
              <a:t> </a:t>
            </a:r>
            <a:r>
              <a:rPr lang="de-DE" sz="1050" b="1" dirty="0" smtClean="0">
                <a:solidFill>
                  <a:schemeClr val="tx1"/>
                </a:solidFill>
              </a:rPr>
              <a:t>Open Communication Systems (FOKUS), Berlin</a:t>
            </a:r>
            <a:br>
              <a:rPr lang="de-DE" sz="1050" b="1" dirty="0" smtClean="0">
                <a:solidFill>
                  <a:schemeClr val="tx1"/>
                </a:solidFill>
              </a:rPr>
            </a:br>
            <a:endParaRPr lang="de-DE" sz="1050" b="1" dirty="0" smtClean="0">
              <a:solidFill>
                <a:schemeClr val="tx1"/>
              </a:solidFill>
            </a:endParaRPr>
          </a:p>
          <a:p>
            <a:pPr eaLnBrk="1" hangingPunct="1"/>
            <a:r>
              <a:rPr lang="de-DE" sz="1050" b="1" dirty="0" smtClean="0">
                <a:solidFill>
                  <a:schemeClr val="tx1"/>
                </a:solidFill>
              </a:rPr>
              <a:t>ICT </a:t>
            </a:r>
            <a:r>
              <a:rPr lang="de-DE" sz="1050" b="1" dirty="0" err="1" smtClean="0">
                <a:solidFill>
                  <a:schemeClr val="tx1"/>
                </a:solidFill>
              </a:rPr>
              <a:t>as</a:t>
            </a:r>
            <a:r>
              <a:rPr lang="de-DE" sz="1050" b="1" dirty="0" smtClean="0">
                <a:solidFill>
                  <a:schemeClr val="tx1"/>
                </a:solidFill>
              </a:rPr>
              <a:t> an </a:t>
            </a:r>
            <a:r>
              <a:rPr lang="de-DE" sz="1050" b="1" dirty="0" err="1" smtClean="0">
                <a:solidFill>
                  <a:schemeClr val="tx1"/>
                </a:solidFill>
              </a:rPr>
              <a:t>Enabler</a:t>
            </a:r>
            <a:r>
              <a:rPr lang="de-DE" sz="1050" b="1" dirty="0" smtClean="0">
                <a:solidFill>
                  <a:schemeClr val="tx1"/>
                </a:solidFill>
              </a:rPr>
              <a:t> </a:t>
            </a:r>
            <a:r>
              <a:rPr lang="de-DE" sz="1050" b="1" dirty="0" err="1" smtClean="0">
                <a:solidFill>
                  <a:schemeClr val="tx1"/>
                </a:solidFill>
              </a:rPr>
              <a:t>for</a:t>
            </a:r>
            <a:r>
              <a:rPr lang="de-DE" sz="1050" b="1" dirty="0" smtClean="0">
                <a:solidFill>
                  <a:schemeClr val="tx1"/>
                </a:solidFill>
              </a:rPr>
              <a:t>  Intelligent City Development | September 12, 2013 | </a:t>
            </a:r>
            <a:r>
              <a:rPr lang="de-DE" sz="1050" b="1" dirty="0" err="1" smtClean="0">
                <a:solidFill>
                  <a:schemeClr val="tx1"/>
                </a:solidFill>
              </a:rPr>
              <a:t>Munich</a:t>
            </a:r>
            <a:r>
              <a:rPr lang="de-DE" sz="1050" b="1" dirty="0" smtClean="0">
                <a:solidFill>
                  <a:schemeClr val="tx1"/>
                </a:solidFill>
              </a:rPr>
              <a:t/>
            </a:r>
            <a:br>
              <a:rPr lang="de-DE" sz="1050" b="1" dirty="0" smtClean="0">
                <a:solidFill>
                  <a:schemeClr val="tx1"/>
                </a:solidFill>
              </a:rPr>
            </a:br>
            <a:endParaRPr lang="de-DE" sz="1050" b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eGovernment</a:t>
            </a:r>
            <a:r>
              <a:rPr lang="de-DE" sz="2000" b="1" dirty="0" smtClean="0">
                <a:cs typeface="Arial" pitchFamily="34" charset="0"/>
              </a:rPr>
              <a:t/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Technological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development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stages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512580552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234440" y="4389120"/>
            <a:ext cx="19480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latin typeface="Tahoma"/>
                <a:cs typeface="Tahoma"/>
              </a:rPr>
              <a:t>eGovernment</a:t>
            </a:r>
            <a:r>
              <a:rPr lang="de-DE" dirty="0" smtClean="0">
                <a:latin typeface="Tahoma"/>
                <a:cs typeface="Tahoma"/>
              </a:rPr>
              <a:t> 1.0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2987040" y="3398520"/>
            <a:ext cx="19480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latin typeface="Tahoma"/>
                <a:cs typeface="Tahoma"/>
              </a:rPr>
              <a:t>eGovernment</a:t>
            </a:r>
            <a:r>
              <a:rPr lang="de-DE" dirty="0" smtClean="0">
                <a:latin typeface="Tahoma"/>
                <a:cs typeface="Tahoma"/>
              </a:rPr>
              <a:t> 2.0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5163674" y="2865120"/>
            <a:ext cx="22189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latin typeface="Tahoma"/>
                <a:cs typeface="Tahoma"/>
              </a:rPr>
              <a:t>eGovernment</a:t>
            </a:r>
            <a:r>
              <a:rPr lang="de-DE" dirty="0" smtClean="0">
                <a:latin typeface="Tahoma"/>
                <a:cs typeface="Tahoma"/>
              </a:rPr>
              <a:t> 3.0 – </a:t>
            </a:r>
            <a:br>
              <a:rPr lang="de-DE" dirty="0" smtClean="0">
                <a:latin typeface="Tahoma"/>
                <a:cs typeface="Tahoma"/>
              </a:rPr>
            </a:br>
            <a:r>
              <a:rPr lang="de-DE" dirty="0" smtClean="0">
                <a:latin typeface="Tahoma"/>
                <a:cs typeface="Tahoma"/>
              </a:rPr>
              <a:t>Smart </a:t>
            </a:r>
            <a:r>
              <a:rPr lang="de-DE" dirty="0" err="1" smtClean="0">
                <a:latin typeface="Tahoma"/>
                <a:cs typeface="Tahoma"/>
              </a:rPr>
              <a:t>Government</a:t>
            </a:r>
            <a:r>
              <a:rPr lang="de-DE" dirty="0" smtClean="0">
                <a:latin typeface="Tahoma"/>
                <a:cs typeface="Tahoma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78737085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eGovernment</a:t>
            </a:r>
            <a:r>
              <a:rPr lang="de-DE" sz="2000" b="1" dirty="0" smtClean="0">
                <a:cs typeface="Arial" pitchFamily="34" charset="0"/>
              </a:rPr>
              <a:t/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Technological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development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stages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1252127865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234440" y="4389120"/>
            <a:ext cx="21900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>
                <a:latin typeface="Tahoma"/>
                <a:cs typeface="Tahoma"/>
              </a:rPr>
              <a:t>eGovernment</a:t>
            </a:r>
            <a:r>
              <a:rPr lang="de-DE" b="1" dirty="0" smtClean="0">
                <a:latin typeface="Tahoma"/>
                <a:cs typeface="Tahoma"/>
              </a:rPr>
              <a:t> 1.0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2987040" y="3398520"/>
            <a:ext cx="19480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Government</a:t>
            </a: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2.0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5163674" y="2865120"/>
            <a:ext cx="22189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Government</a:t>
            </a: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3.0 – </a:t>
            </a:r>
            <a:b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</a:b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Smart </a:t>
            </a:r>
            <a:r>
              <a:rPr lang="de-DE" dirty="0" err="1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Government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?</a:t>
            </a:r>
            <a:endParaRPr lang="de-DE" dirty="0" smtClean="0">
              <a:solidFill>
                <a:schemeClr val="bg1">
                  <a:lumMod val="65000"/>
                </a:schemeClr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71982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eGovernment</a:t>
            </a:r>
            <a:r>
              <a:rPr lang="de-DE" sz="2000" b="1" dirty="0" smtClean="0">
                <a:cs typeface="Arial" pitchFamily="34" charset="0"/>
              </a:rPr>
              <a:t> 1.0</a:t>
            </a:r>
          </a:p>
          <a:p>
            <a:pPr>
              <a:defRPr/>
            </a:pP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ICT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systems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for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special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>
                <a:solidFill>
                  <a:srgbClr val="008080"/>
                </a:solidFill>
                <a:cs typeface="Arial" pitchFamily="34" charset="0"/>
              </a:rPr>
              <a:t>a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dministrative </a:t>
            </a:r>
            <a:r>
              <a:rPr lang="de-DE" sz="2000" b="1" dirty="0" err="1">
                <a:solidFill>
                  <a:srgbClr val="008080"/>
                </a:solidFill>
                <a:cs typeface="Arial" pitchFamily="34" charset="0"/>
              </a:rPr>
              <a:t>p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rocedures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3770179"/>
            <a:ext cx="8340725" cy="123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Support </a:t>
            </a:r>
            <a:r>
              <a:rPr lang="en-US" dirty="0"/>
              <a:t>of administration internal procedures </a:t>
            </a: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processing </a:t>
            </a:r>
            <a:r>
              <a:rPr lang="en-US" dirty="0"/>
              <a:t>of building applications, child benefit claims, management of budget funds, citizen registration </a:t>
            </a:r>
            <a:r>
              <a:rPr lang="en-US" dirty="0" smtClean="0"/>
              <a:t>information…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Provision </a:t>
            </a:r>
            <a:r>
              <a:rPr lang="en-US" dirty="0"/>
              <a:t>of information for citizens and </a:t>
            </a:r>
            <a:r>
              <a:rPr lang="en-US" dirty="0" smtClean="0"/>
              <a:t>business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e.g</a:t>
            </a:r>
            <a:r>
              <a:rPr lang="en-US" dirty="0"/>
              <a:t>. simple web sites with office opening hours, contact </a:t>
            </a:r>
            <a:r>
              <a:rPr lang="en-US" dirty="0" smtClean="0"/>
              <a:t>persons…</a:t>
            </a:r>
            <a:endParaRPr lang="en-US" dirty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sz="16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671" y="1230867"/>
            <a:ext cx="3327991" cy="22167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1929" y="1230868"/>
            <a:ext cx="3309569" cy="22044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Pfeil nach rechts 4"/>
          <p:cNvSpPr/>
          <p:nvPr/>
        </p:nvSpPr>
        <p:spPr>
          <a:xfrm>
            <a:off x="3773487" y="1782958"/>
            <a:ext cx="1752600" cy="1112520"/>
          </a:xfrm>
          <a:prstGeom prst="rightArrow">
            <a:avLst/>
          </a:prstGeom>
          <a:solidFill>
            <a:schemeClr val="bg1">
              <a:alpha val="77000"/>
            </a:schemeClr>
          </a:solidFill>
          <a:ln w="6350" cap="flat" cmpd="sng" algn="ctr">
            <a:solidFill>
              <a:srgbClr val="17A57D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25400" dir="2700000">
              <a:srgbClr val="000000">
                <a:alpha val="43000"/>
              </a:srgbClr>
            </a:outerShd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277119" y="1868018"/>
            <a:ext cx="381020" cy="2903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170111" y="1878651"/>
            <a:ext cx="5277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latin typeface="Vijaya" pitchFamily="34" charset="0"/>
                <a:cs typeface="Vijaya" pitchFamily="34" charset="0"/>
              </a:rPr>
              <a:t>Help</a:t>
            </a:r>
            <a:r>
              <a:rPr lang="de-DE" sz="1600" dirty="0" smtClean="0">
                <a:latin typeface="Vijaya" pitchFamily="34" charset="0"/>
                <a:cs typeface="Vijaya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7029206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eGovernment</a:t>
            </a:r>
            <a:r>
              <a:rPr lang="de-DE" sz="2000" b="1" dirty="0" smtClean="0">
                <a:cs typeface="Arial" pitchFamily="34" charset="0"/>
              </a:rPr>
              <a:t/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Technological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development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stages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3154405197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234440" y="4389120"/>
            <a:ext cx="19480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Government</a:t>
            </a: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1.0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2987040" y="3398520"/>
            <a:ext cx="21900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>
                <a:latin typeface="Tahoma"/>
                <a:cs typeface="Tahoma"/>
              </a:rPr>
              <a:t>eGovernment</a:t>
            </a:r>
            <a:r>
              <a:rPr lang="de-DE" b="1" dirty="0" smtClean="0">
                <a:latin typeface="Tahoma"/>
                <a:cs typeface="Tahoma"/>
              </a:rPr>
              <a:t> 2.0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5163674" y="2865120"/>
            <a:ext cx="22189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Government</a:t>
            </a: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3.0 – </a:t>
            </a:r>
            <a:b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</a:b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Smart </a:t>
            </a:r>
            <a:r>
              <a:rPr lang="de-DE" dirty="0" err="1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Government</a:t>
            </a: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8079278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eGovernment</a:t>
            </a:r>
            <a:r>
              <a:rPr lang="de-DE" sz="2000" b="1" dirty="0" smtClean="0">
                <a:cs typeface="Arial" pitchFamily="34" charset="0"/>
              </a:rPr>
              <a:t> 2.0</a:t>
            </a:r>
          </a:p>
          <a:p>
            <a:pPr>
              <a:defRPr/>
            </a:pP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Process-oriented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eGovernment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1377499"/>
            <a:ext cx="8340725" cy="3529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From task-oriented to process-oriented administration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Cross-organizational workflows between public </a:t>
            </a:r>
            <a:br>
              <a:rPr lang="en-US" dirty="0" smtClean="0"/>
            </a:br>
            <a:r>
              <a:rPr lang="en-US" dirty="0" smtClean="0"/>
              <a:t>agencies, businesses and citizens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/>
              <a:t>End-</a:t>
            </a:r>
            <a:r>
              <a:rPr lang="de-DE" dirty="0" err="1"/>
              <a:t>to</a:t>
            </a:r>
            <a:r>
              <a:rPr lang="de-DE" dirty="0"/>
              <a:t>-end online </a:t>
            </a:r>
            <a:r>
              <a:rPr lang="de-DE" dirty="0" err="1" smtClean="0"/>
              <a:t>transactions</a:t>
            </a: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stop</a:t>
            </a:r>
            <a:r>
              <a:rPr lang="de-DE" dirty="0"/>
              <a:t> </a:t>
            </a:r>
            <a:r>
              <a:rPr lang="de-DE" dirty="0" err="1"/>
              <a:t>government</a:t>
            </a:r>
            <a:endParaRPr lang="de-DE" dirty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/>
              <a:t>Multi-</a:t>
            </a:r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 </a:t>
            </a: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sz="1600" dirty="0"/>
          </a:p>
        </p:txBody>
      </p:sp>
      <p:sp>
        <p:nvSpPr>
          <p:cNvPr id="13" name="Rectangle 26"/>
          <p:cNvSpPr>
            <a:spLocks noChangeArrowheads="1"/>
          </p:cNvSpPr>
          <p:nvPr/>
        </p:nvSpPr>
        <p:spPr bwMode="auto">
          <a:xfrm>
            <a:off x="3553177" y="4041549"/>
            <a:ext cx="5909216" cy="1810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Technical implications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Service oriented Architectures </a:t>
            </a:r>
            <a:br>
              <a:rPr lang="en-US" dirty="0" smtClean="0"/>
            </a:br>
            <a:r>
              <a:rPr lang="en-US" dirty="0" smtClean="0"/>
              <a:t>(“From software to services”)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Open standards 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Secure electronic </a:t>
            </a:r>
            <a:r>
              <a:rPr lang="de-DE" dirty="0" err="1" smtClean="0"/>
              <a:t>identities</a:t>
            </a: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sz="16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3587" y="1757437"/>
            <a:ext cx="2792644" cy="18606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3628725"/>
            <a:ext cx="2964580" cy="22234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8670064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13769" y="2435322"/>
            <a:ext cx="5023901" cy="2832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 descr="http://www.kreise.de/__cms1/images/stories/pdf/eGov/d115%20logo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53506" y="251327"/>
            <a:ext cx="2890494" cy="1720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eGov</a:t>
            </a:r>
            <a:r>
              <a:rPr lang="de-DE" sz="2000" b="1" dirty="0" smtClean="0">
                <a:cs typeface="Arial" pitchFamily="34" charset="0"/>
              </a:rPr>
              <a:t> 2.0 – Single </a:t>
            </a:r>
            <a:r>
              <a:rPr lang="de-DE" sz="2000" b="1" dirty="0">
                <a:cs typeface="Arial" pitchFamily="34" charset="0"/>
              </a:rPr>
              <a:t>P</a:t>
            </a:r>
            <a:r>
              <a:rPr lang="de-DE" sz="2000" b="1" dirty="0" smtClean="0">
                <a:cs typeface="Arial" pitchFamily="34" charset="0"/>
              </a:rPr>
              <a:t>oint </a:t>
            </a:r>
            <a:r>
              <a:rPr lang="de-DE" sz="2000" b="1" dirty="0" err="1" smtClean="0">
                <a:cs typeface="Arial" pitchFamily="34" charset="0"/>
              </a:rPr>
              <a:t>of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>
                <a:cs typeface="Arial" pitchFamily="34" charset="0"/>
              </a:rPr>
              <a:t>A</a:t>
            </a:r>
            <a:r>
              <a:rPr lang="de-DE" sz="2000" b="1" dirty="0" smtClean="0">
                <a:cs typeface="Arial" pitchFamily="34" charset="0"/>
              </a:rPr>
              <a:t>ccess</a:t>
            </a:r>
          </a:p>
          <a:p>
            <a:pPr>
              <a:defRPr/>
            </a:pP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Flagship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project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D115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1377499"/>
            <a:ext cx="8340725" cy="3529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/>
              <a:t>C</a:t>
            </a:r>
            <a:r>
              <a:rPr lang="en-US" dirty="0" smtClean="0"/>
              <a:t>entral </a:t>
            </a:r>
            <a:r>
              <a:rPr lang="en-US" dirty="0"/>
              <a:t>telephone number </a:t>
            </a:r>
            <a:r>
              <a:rPr lang="en-US" dirty="0" smtClean="0"/>
              <a:t>(115) to give </a:t>
            </a:r>
            <a:r>
              <a:rPr lang="en-US" dirty="0"/>
              <a:t>businesses 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rivate </a:t>
            </a:r>
            <a:r>
              <a:rPr lang="en-US" dirty="0"/>
              <a:t>individuals a direct line to public </a:t>
            </a:r>
            <a:r>
              <a:rPr lang="en-US" dirty="0" smtClean="0"/>
              <a:t>administration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Fixed service quality: availability, response time, call quality…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Challenges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No central service center, </a:t>
            </a:r>
            <a:br>
              <a:rPr lang="en-US" dirty="0" smtClean="0"/>
            </a:br>
            <a:r>
              <a:rPr lang="en-US" dirty="0" smtClean="0"/>
              <a:t>network of hundreds </a:t>
            </a:r>
            <a:br>
              <a:rPr lang="en-US" dirty="0" smtClean="0"/>
            </a:br>
            <a:r>
              <a:rPr lang="en-US" dirty="0" smtClean="0"/>
              <a:t>of service centers on federal,</a:t>
            </a:r>
            <a:br>
              <a:rPr lang="en-US" dirty="0" smtClean="0"/>
            </a:br>
            <a:r>
              <a:rPr lang="en-US" dirty="0" smtClean="0"/>
              <a:t>state and local level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Highly heterogeneous </a:t>
            </a:r>
            <a:br>
              <a:rPr lang="en-US" dirty="0" smtClean="0"/>
            </a:br>
            <a:r>
              <a:rPr lang="en-US" dirty="0" smtClean="0"/>
              <a:t>knowledge bases and </a:t>
            </a:r>
            <a:br>
              <a:rPr lang="en-US" dirty="0" smtClean="0"/>
            </a:br>
            <a:r>
              <a:rPr lang="en-US" dirty="0" smtClean="0"/>
              <a:t>case management systems 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Standards (XML) for </a:t>
            </a:r>
            <a:br>
              <a:rPr lang="en-US" dirty="0" smtClean="0"/>
            </a:br>
            <a:r>
              <a:rPr lang="en-US" dirty="0" smtClean="0"/>
              <a:t>caller enquiries (tickets) </a:t>
            </a:r>
            <a:br>
              <a:rPr lang="en-US" dirty="0" smtClean="0"/>
            </a:br>
            <a:r>
              <a:rPr lang="en-US" dirty="0" smtClean="0"/>
              <a:t>and for describing the most frequently requested services</a:t>
            </a:r>
          </a:p>
        </p:txBody>
      </p:sp>
    </p:spTree>
    <p:extLst>
      <p:ext uri="{BB962C8B-B14F-4D97-AF65-F5344CB8AC3E}">
        <p14:creationId xmlns:p14="http://schemas.microsoft.com/office/powerpoint/2010/main" val="95006144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eGov</a:t>
            </a:r>
            <a:r>
              <a:rPr lang="de-DE" sz="2000" b="1" dirty="0" smtClean="0">
                <a:cs typeface="Arial" pitchFamily="34" charset="0"/>
              </a:rPr>
              <a:t> 2.0 – Cross-</a:t>
            </a:r>
            <a:r>
              <a:rPr lang="de-DE" sz="2000" b="1" dirty="0" err="1" smtClean="0">
                <a:cs typeface="Arial" pitchFamily="34" charset="0"/>
              </a:rPr>
              <a:t>organizational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 err="1" smtClean="0">
                <a:cs typeface="Arial" pitchFamily="34" charset="0"/>
              </a:rPr>
              <a:t>workflows</a:t>
            </a:r>
            <a:endParaRPr lang="de-DE" sz="2000" b="1" dirty="0" smtClean="0">
              <a:cs typeface="Arial" pitchFamily="34" charset="0"/>
            </a:endParaRPr>
          </a:p>
          <a:p>
            <a:pPr>
              <a:defRPr/>
            </a:pP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Flagship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Project „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Process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Data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Accelerator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“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1377499"/>
            <a:ext cx="8664575" cy="4825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More than 10,000 </a:t>
            </a:r>
            <a:r>
              <a:rPr lang="en-US" dirty="0"/>
              <a:t>reporting </a:t>
            </a:r>
            <a:r>
              <a:rPr lang="en-US" dirty="0" smtClean="0"/>
              <a:t>duties, bureaucracy </a:t>
            </a:r>
            <a:r>
              <a:rPr lang="en-US" dirty="0"/>
              <a:t>costs </a:t>
            </a:r>
            <a:r>
              <a:rPr lang="en-US" dirty="0" smtClean="0"/>
              <a:t>40 </a:t>
            </a:r>
            <a:r>
              <a:rPr lang="en-US" dirty="0"/>
              <a:t>Billion Euro </a:t>
            </a:r>
            <a:r>
              <a:rPr lang="en-US" dirty="0" smtClean="0"/>
              <a:t>p.a.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e.g. report working hours of employees and wages to statistical offices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e.g. report social insurance contribution to health insurance organizations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Different recipients, different reporting forms, different timelines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Solution: </a:t>
            </a:r>
            <a:br>
              <a:rPr lang="en-US" dirty="0" smtClean="0"/>
            </a:br>
            <a:r>
              <a:rPr lang="en-US" dirty="0" smtClean="0"/>
              <a:t>Process Data Accelerator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13 </a:t>
            </a:r>
            <a:r>
              <a:rPr lang="en-US" dirty="0"/>
              <a:t>partners from government, </a:t>
            </a:r>
            <a:br>
              <a:rPr lang="en-US" dirty="0"/>
            </a:br>
            <a:r>
              <a:rPr lang="en-US" dirty="0"/>
              <a:t>business and </a:t>
            </a:r>
            <a:r>
              <a:rPr lang="en-US" dirty="0" smtClean="0"/>
              <a:t>research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Pilot with BASF, </a:t>
            </a:r>
            <a:r>
              <a:rPr lang="en-US" dirty="0" err="1" smtClean="0"/>
              <a:t>Datev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and public agencies </a:t>
            </a:r>
            <a:br>
              <a:rPr lang="en-US" dirty="0" smtClean="0"/>
            </a:br>
            <a:r>
              <a:rPr lang="en-US" dirty="0" smtClean="0"/>
              <a:t>(employment reports and</a:t>
            </a:r>
            <a:br>
              <a:rPr lang="en-US" dirty="0" smtClean="0"/>
            </a:br>
            <a:r>
              <a:rPr lang="en-US" dirty="0" smtClean="0"/>
              <a:t>environmental reports)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63384" y="2959508"/>
            <a:ext cx="4956766" cy="292798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 descr="http://images.vogel.de/vogelonline/bdb/551600/551699/4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78162" y="358007"/>
            <a:ext cx="166252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71445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L:\Elektronischer Personalausweis (ePA)\TP Kommunikation Öffentlichkeitsarbeit\09_Bildersammlung\01_Abbildungen neuer Personalausweis\Englisch\vorn_erklaer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3940" y="1921248"/>
            <a:ext cx="4381500" cy="302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eGov</a:t>
            </a:r>
            <a:r>
              <a:rPr lang="de-DE" sz="2000" b="1" dirty="0" smtClean="0">
                <a:cs typeface="Arial" pitchFamily="34" charset="0"/>
              </a:rPr>
              <a:t> 2.0 – End-</a:t>
            </a:r>
            <a:r>
              <a:rPr lang="de-DE" sz="2000" b="1" dirty="0" err="1" smtClean="0">
                <a:cs typeface="Arial" pitchFamily="34" charset="0"/>
              </a:rPr>
              <a:t>to</a:t>
            </a:r>
            <a:r>
              <a:rPr lang="de-DE" sz="2000" b="1" dirty="0" smtClean="0">
                <a:cs typeface="Arial" pitchFamily="34" charset="0"/>
              </a:rPr>
              <a:t>-End Online Transactions</a:t>
            </a:r>
          </a:p>
          <a:p>
            <a:pPr>
              <a:defRPr/>
            </a:pP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German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eID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card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1377499"/>
            <a:ext cx="8344535" cy="4825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Secure and media break free online transactions require trustworthy </a:t>
            </a:r>
            <a:br>
              <a:rPr lang="en-US" dirty="0" smtClean="0"/>
            </a:br>
            <a:r>
              <a:rPr lang="en-US" dirty="0" smtClean="0"/>
              <a:t>electronic </a:t>
            </a:r>
            <a:r>
              <a:rPr lang="en-US" dirty="0" err="1" smtClean="0"/>
              <a:t>identites</a:t>
            </a: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New German </a:t>
            </a:r>
            <a:r>
              <a:rPr lang="en-US" dirty="0" err="1" smtClean="0"/>
              <a:t>eID</a:t>
            </a:r>
            <a:r>
              <a:rPr lang="en-US" dirty="0" smtClean="0"/>
              <a:t> card issued since Nov 2010</a:t>
            </a: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Online electronic </a:t>
            </a:r>
            <a:r>
              <a:rPr lang="de-DE" dirty="0" err="1" smtClean="0"/>
              <a:t>authentication</a:t>
            </a:r>
            <a:r>
              <a:rPr lang="de-DE" dirty="0" smtClean="0"/>
              <a:t> (PIN)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Electronic </a:t>
            </a:r>
            <a:r>
              <a:rPr lang="de-DE" dirty="0" err="1" smtClean="0"/>
              <a:t>signature</a:t>
            </a:r>
            <a:r>
              <a:rPr lang="de-DE" dirty="0" smtClean="0"/>
              <a:t> 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err="1" smtClean="0"/>
              <a:t>Sovereign</a:t>
            </a:r>
            <a:r>
              <a:rPr lang="de-DE" dirty="0" smtClean="0"/>
              <a:t> </a:t>
            </a:r>
            <a:r>
              <a:rPr lang="de-DE" dirty="0" err="1" smtClean="0"/>
              <a:t>function</a:t>
            </a:r>
            <a:endParaRPr lang="de-DE" dirty="0"/>
          </a:p>
          <a:p>
            <a:pPr marL="1185863" lvl="2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Digital </a:t>
            </a:r>
            <a:r>
              <a:rPr lang="de-DE" dirty="0" err="1" smtClean="0"/>
              <a:t>photograph</a:t>
            </a:r>
            <a:r>
              <a:rPr lang="de-DE" dirty="0"/>
              <a:t> </a:t>
            </a:r>
            <a:r>
              <a:rPr lang="de-DE" dirty="0" smtClean="0"/>
              <a:t>+ </a:t>
            </a:r>
            <a:r>
              <a:rPr lang="de-DE" dirty="0" err="1" smtClean="0"/>
              <a:t>fingerprints</a:t>
            </a:r>
            <a:endParaRPr lang="de-DE" dirty="0" smtClean="0"/>
          </a:p>
          <a:p>
            <a:pPr marL="1185863" lvl="2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Access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qualified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authorities</a:t>
            </a:r>
            <a:r>
              <a:rPr lang="de-DE" dirty="0" smtClean="0"/>
              <a:t> 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&gt; 18 </a:t>
            </a:r>
            <a:r>
              <a:rPr lang="de-DE" dirty="0"/>
              <a:t>Mio. </a:t>
            </a:r>
            <a:r>
              <a:rPr lang="de-DE" dirty="0" err="1"/>
              <a:t>card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 smtClean="0"/>
              <a:t>issued</a:t>
            </a:r>
            <a:r>
              <a:rPr lang="de-DE" dirty="0" smtClean="0"/>
              <a:t>, </a:t>
            </a:r>
            <a:br>
              <a:rPr lang="de-DE" dirty="0" smtClean="0"/>
            </a:br>
            <a:r>
              <a:rPr lang="de-DE" dirty="0" smtClean="0"/>
              <a:t>    60 </a:t>
            </a:r>
            <a:r>
              <a:rPr lang="de-DE" dirty="0" err="1" smtClean="0"/>
              <a:t>Mio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2020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70.000 </a:t>
            </a:r>
            <a:r>
              <a:rPr lang="de-DE" dirty="0" err="1" smtClean="0"/>
              <a:t>public</a:t>
            </a:r>
            <a:r>
              <a:rPr lang="de-DE" dirty="0" smtClean="0"/>
              <a:t> </a:t>
            </a:r>
            <a:r>
              <a:rPr lang="de-DE" dirty="0" err="1" smtClean="0"/>
              <a:t>authorities</a:t>
            </a:r>
            <a:r>
              <a:rPr lang="de-DE" dirty="0" smtClean="0"/>
              <a:t> </a:t>
            </a:r>
            <a:r>
              <a:rPr lang="de-DE" dirty="0" err="1" smtClean="0"/>
              <a:t>equipped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har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endParaRPr lang="de-DE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/>
          </a:p>
        </p:txBody>
      </p:sp>
      <p:pic>
        <p:nvPicPr>
          <p:cNvPr id="2050" name="Picture 2" descr="https://encrypted-tbn0.gstatic.com/images?q=tbn:ANd9GcTjCc0b8VdlOwLS6buiVFYQHtZc2Nie-HaDyvTq8EbA4-x_M4br_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2276" y="230710"/>
            <a:ext cx="1218156" cy="1218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33698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eGovernment</a:t>
            </a:r>
            <a:r>
              <a:rPr lang="de-DE" sz="2000" b="1" dirty="0" smtClean="0">
                <a:cs typeface="Arial" pitchFamily="34" charset="0"/>
              </a:rPr>
              <a:t/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Technological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development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stages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591733221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234440" y="4389120"/>
            <a:ext cx="19480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Government</a:t>
            </a: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1.0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2987040" y="3398520"/>
            <a:ext cx="19480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Government</a:t>
            </a: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2.0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5163674" y="2865120"/>
            <a:ext cx="25154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>
                <a:latin typeface="Tahoma"/>
                <a:cs typeface="Tahoma"/>
              </a:rPr>
              <a:t>eGovernment</a:t>
            </a:r>
            <a:r>
              <a:rPr lang="de-DE" b="1" dirty="0" smtClean="0">
                <a:latin typeface="Tahoma"/>
                <a:cs typeface="Tahoma"/>
              </a:rPr>
              <a:t> 3.0 – </a:t>
            </a:r>
            <a:br>
              <a:rPr lang="de-DE" b="1" dirty="0" smtClean="0">
                <a:latin typeface="Tahoma"/>
                <a:cs typeface="Tahoma"/>
              </a:rPr>
            </a:br>
            <a:r>
              <a:rPr lang="de-DE" b="1" dirty="0" smtClean="0">
                <a:latin typeface="Tahoma"/>
                <a:cs typeface="Tahoma"/>
              </a:rPr>
              <a:t>Smart </a:t>
            </a:r>
            <a:r>
              <a:rPr lang="de-DE" b="1" dirty="0" err="1" smtClean="0">
                <a:latin typeface="Tahoma"/>
                <a:cs typeface="Tahoma"/>
              </a:rPr>
              <a:t>Government</a:t>
            </a:r>
            <a:r>
              <a:rPr lang="de-DE" b="1" dirty="0">
                <a:latin typeface="Tahoma"/>
                <a:cs typeface="Tahoma"/>
              </a:rPr>
              <a:t>?</a:t>
            </a:r>
            <a:endParaRPr lang="de-DE" b="1" dirty="0" smtClean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2605634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smtClean="0">
                <a:cs typeface="Arial" pitchFamily="34" charset="0"/>
              </a:rPr>
              <a:t>Smart (City) </a:t>
            </a:r>
            <a:r>
              <a:rPr lang="de-DE" sz="2000" b="1" dirty="0" err="1" smtClean="0">
                <a:cs typeface="Arial" pitchFamily="34" charset="0"/>
              </a:rPr>
              <a:t>Government</a:t>
            </a:r>
            <a:endParaRPr lang="de-DE" sz="2000" b="1" dirty="0" smtClean="0"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1377499"/>
            <a:ext cx="8344535" cy="4825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>
                <a:sym typeface="Wingdings" pitchFamily="2" charset="2"/>
              </a:rPr>
              <a:t>Strong </a:t>
            </a:r>
            <a:r>
              <a:rPr lang="en-US" dirty="0">
                <a:sym typeface="Wingdings" pitchFamily="2" charset="2"/>
              </a:rPr>
              <a:t>involvement of third parties (business, citizens, civil society) </a:t>
            </a:r>
            <a:endParaRPr lang="en-US" dirty="0" smtClean="0">
              <a:sym typeface="Wingdings" pitchFamily="2" charset="2"/>
            </a:endParaRP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/>
          </a:p>
        </p:txBody>
      </p:sp>
      <p:pic>
        <p:nvPicPr>
          <p:cNvPr id="16" name="Picture 6" descr="Smart City Apps 001 keyvisua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561" y="152434"/>
            <a:ext cx="222303" cy="7873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237193" y="1962740"/>
            <a:ext cx="8428672" cy="9254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kern="0" dirty="0" smtClean="0">
              <a:solidFill>
                <a:schemeClr val="tx1"/>
              </a:solidFill>
              <a:latin typeface="Tahoma"/>
              <a:ea typeface="+mn-ea"/>
            </a:endParaRPr>
          </a:p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Government</a:t>
            </a:r>
            <a:r>
              <a:rPr lang="de-DE" b="1" kern="0" dirty="0" smtClean="0">
                <a:solidFill>
                  <a:schemeClr val="bg1"/>
                </a:solidFill>
                <a:latin typeface="Tahoma"/>
              </a:rPr>
              <a:t> </a:t>
            </a: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and</a:t>
            </a:r>
            <a:r>
              <a:rPr lang="de-DE" b="1" kern="0" dirty="0" smtClean="0">
                <a:solidFill>
                  <a:schemeClr val="bg1"/>
                </a:solidFill>
                <a:latin typeface="Tahoma"/>
              </a:rPr>
              <a:t> </a:t>
            </a: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public</a:t>
            </a:r>
            <a:r>
              <a:rPr lang="de-DE" b="1" kern="0" dirty="0" smtClean="0">
                <a:solidFill>
                  <a:schemeClr val="bg1"/>
                </a:solidFill>
                <a:latin typeface="Tahoma"/>
              </a:rPr>
              <a:t> </a:t>
            </a: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administration</a:t>
            </a:r>
            <a:r>
              <a:rPr lang="de-DE" b="1" kern="0" dirty="0" smtClean="0">
                <a:solidFill>
                  <a:schemeClr val="bg1"/>
                </a:solidFill>
                <a:latin typeface="Tahoma"/>
              </a:rPr>
              <a:t> will </a:t>
            </a: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develop</a:t>
            </a:r>
            <a:r>
              <a:rPr lang="de-DE" b="1" kern="0" dirty="0" smtClean="0">
                <a:solidFill>
                  <a:schemeClr val="bg1"/>
                </a:solidFill>
                <a:latin typeface="Tahoma"/>
              </a:rPr>
              <a:t> </a:t>
            </a: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from</a:t>
            </a:r>
            <a:r>
              <a:rPr lang="de-DE" b="1" kern="0" dirty="0" smtClean="0">
                <a:solidFill>
                  <a:schemeClr val="bg1"/>
                </a:solidFill>
                <a:latin typeface="Tahoma"/>
              </a:rPr>
              <a:t> </a:t>
            </a: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service</a:t>
            </a:r>
            <a:r>
              <a:rPr lang="de-DE" b="1" kern="0" dirty="0" smtClean="0">
                <a:solidFill>
                  <a:schemeClr val="bg1"/>
                </a:solidFill>
                <a:latin typeface="Tahoma"/>
              </a:rPr>
              <a:t> </a:t>
            </a: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providers</a:t>
            </a:r>
            <a:r>
              <a:rPr lang="de-DE" b="1" kern="0" dirty="0" smtClean="0">
                <a:solidFill>
                  <a:schemeClr val="bg1"/>
                </a:solidFill>
                <a:latin typeface="Tahoma"/>
              </a:rPr>
              <a:t> </a:t>
            </a: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to</a:t>
            </a:r>
            <a:r>
              <a:rPr lang="de-DE" b="1" kern="0" dirty="0" smtClean="0">
                <a:solidFill>
                  <a:schemeClr val="bg1"/>
                </a:solidFill>
                <a:latin typeface="Tahoma"/>
              </a:rPr>
              <a:t> </a:t>
            </a: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platform</a:t>
            </a:r>
            <a:r>
              <a:rPr lang="de-DE" b="1" kern="0" dirty="0" smtClean="0">
                <a:solidFill>
                  <a:schemeClr val="bg1"/>
                </a:solidFill>
                <a:latin typeface="Tahoma"/>
              </a:rPr>
              <a:t> </a:t>
            </a:r>
            <a:r>
              <a:rPr lang="de-DE" b="1" kern="0" dirty="0" err="1" smtClean="0">
                <a:solidFill>
                  <a:schemeClr val="bg1"/>
                </a:solidFill>
                <a:latin typeface="Tahoma"/>
              </a:rPr>
              <a:t>providers</a:t>
            </a:r>
            <a:endParaRPr lang="de-DE" b="1" kern="0" dirty="0" smtClean="0">
              <a:solidFill>
                <a:schemeClr val="bg1"/>
              </a:solidFill>
              <a:latin typeface="Tahoma"/>
            </a:endParaRPr>
          </a:p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/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641584" y="3378910"/>
            <a:ext cx="7354361" cy="2438566"/>
            <a:chOff x="641584" y="3378910"/>
            <a:chExt cx="7354361" cy="2438566"/>
          </a:xfrm>
        </p:grpSpPr>
        <p:sp>
          <p:nvSpPr>
            <p:cNvPr id="22" name="Abgerundetes Rechteck 21"/>
            <p:cNvSpPr/>
            <p:nvPr/>
          </p:nvSpPr>
          <p:spPr>
            <a:xfrm>
              <a:off x="1891869" y="5125410"/>
              <a:ext cx="5277997" cy="692066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003">
              <a:schemeClr val="lt2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kern="0" dirty="0" err="1" smtClean="0">
                  <a:latin typeface="Tahoma"/>
                  <a:ea typeface="+mn-ea"/>
                  <a:cs typeface="+mn-cs"/>
                </a:rPr>
                <a:t>Government</a:t>
              </a:r>
              <a:r>
                <a:rPr lang="de-DE" kern="0" dirty="0" smtClean="0">
                  <a:latin typeface="Tahoma"/>
                  <a:ea typeface="+mn-ea"/>
                  <a:cs typeface="+mn-cs"/>
                </a:rPr>
                <a:t> </a:t>
              </a:r>
              <a:r>
                <a:rPr lang="de-DE" kern="0" dirty="0" err="1" smtClean="0">
                  <a:latin typeface="Tahoma"/>
                  <a:ea typeface="+mn-ea"/>
                  <a:cs typeface="+mn-cs"/>
                </a:rPr>
                <a:t>Agencies</a:t>
              </a:r>
              <a:endParaRPr kumimoji="0" 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10" name="Picture 22" descr="berlin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986831" y="5240544"/>
              <a:ext cx="704563" cy="461798"/>
            </a:xfrm>
            <a:prstGeom prst="rect">
              <a:avLst/>
            </a:prstGeom>
            <a:noFill/>
          </p:spPr>
        </p:pic>
        <p:sp>
          <p:nvSpPr>
            <p:cNvPr id="12" name="Abgerundetes Rechteck 11"/>
            <p:cNvSpPr/>
            <p:nvPr/>
          </p:nvSpPr>
          <p:spPr>
            <a:xfrm>
              <a:off x="1891878" y="4346427"/>
              <a:ext cx="2627081" cy="690495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002">
              <a:schemeClr val="lt2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kern="0" dirty="0" smtClean="0">
                  <a:latin typeface="Tahoma"/>
                  <a:ea typeface="+mn-ea"/>
                  <a:cs typeface="+mn-cs"/>
                </a:rPr>
                <a:t>Open Interfaces, </a:t>
              </a:r>
              <a:br>
                <a:rPr lang="de-DE" kern="0" dirty="0" smtClean="0">
                  <a:latin typeface="Tahoma"/>
                  <a:ea typeface="+mn-ea"/>
                  <a:cs typeface="+mn-cs"/>
                </a:rPr>
              </a:br>
              <a:r>
                <a:rPr lang="de-DE" kern="0" dirty="0" smtClean="0">
                  <a:latin typeface="Tahoma"/>
                  <a:ea typeface="+mn-ea"/>
                  <a:cs typeface="+mn-cs"/>
                </a:rPr>
                <a:t>Public Data</a:t>
              </a:r>
              <a:endParaRPr kumimoji="0" 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13" name="Picture 7" descr="C:\Users\mfl\AppData\Local\Microsoft\Windows\Temporary Internet Files\Content.IE5\WOE78SW8\MC900441332[1]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3722" y="3487695"/>
              <a:ext cx="670071" cy="670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 descr="C:\Users\mfl\AppData\Local\Microsoft\Windows\Temporary Internet Files\Content.IE5\T2G5WN53\MC900433847[1]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9590" y="3378910"/>
              <a:ext cx="876942" cy="8769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feld 4"/>
            <p:cNvSpPr txBox="1"/>
            <p:nvPr/>
          </p:nvSpPr>
          <p:spPr>
            <a:xfrm>
              <a:off x="641584" y="3531464"/>
              <a:ext cx="219663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i="1" dirty="0" smtClean="0">
                  <a:latin typeface="Tahoma"/>
                  <a:cs typeface="Tahoma"/>
                </a:rPr>
                <a:t>Third Party </a:t>
              </a:r>
              <a:br>
                <a:rPr lang="de-DE" i="1" dirty="0" smtClean="0">
                  <a:latin typeface="Tahoma"/>
                  <a:cs typeface="Tahoma"/>
                </a:rPr>
              </a:br>
              <a:r>
                <a:rPr lang="de-DE" i="1" dirty="0" err="1" smtClean="0">
                  <a:latin typeface="Tahoma"/>
                  <a:cs typeface="Tahoma"/>
                </a:rPr>
                <a:t>Applications</a:t>
              </a:r>
              <a:endParaRPr lang="de-DE" i="1" dirty="0" smtClean="0">
                <a:latin typeface="Tahoma"/>
                <a:cs typeface="Tahoma"/>
              </a:endParaRPr>
            </a:p>
          </p:txBody>
        </p:sp>
        <p:sp>
          <p:nvSpPr>
            <p:cNvPr id="23" name="Abgerundetes Rechteck 22"/>
            <p:cNvSpPr/>
            <p:nvPr/>
          </p:nvSpPr>
          <p:spPr>
            <a:xfrm>
              <a:off x="4568456" y="4346427"/>
              <a:ext cx="2601410" cy="683479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002">
              <a:schemeClr val="lt2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kern="0" cap="none" spc="0" normalizeH="0" baseline="0" noProof="0" dirty="0" err="1" smtClean="0">
                  <a:ln>
                    <a:noFill/>
                  </a:ln>
                  <a:effectLst/>
                  <a:uLnTx/>
                  <a:uFillTx/>
                  <a:latin typeface="Tahoma"/>
                  <a:ea typeface="+mn-ea"/>
                  <a:cs typeface="+mn-cs"/>
                </a:rPr>
                <a:t>Participation</a:t>
              </a:r>
              <a:r>
                <a:rPr kumimoji="0" lang="de-DE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Tahoma"/>
                  <a:ea typeface="+mn-ea"/>
                  <a:cs typeface="+mn-cs"/>
                </a:rPr>
                <a:t> </a:t>
              </a:r>
              <a:r>
                <a:rPr kumimoji="0" lang="de-DE" b="0" i="0" u="none" strike="noStrike" kern="0" cap="none" spc="0" normalizeH="0" baseline="0" noProof="0" dirty="0" err="1" smtClean="0">
                  <a:ln>
                    <a:noFill/>
                  </a:ln>
                  <a:effectLst/>
                  <a:uLnTx/>
                  <a:uFillTx/>
                  <a:latin typeface="Tahoma"/>
                  <a:ea typeface="+mn-ea"/>
                  <a:cs typeface="+mn-cs"/>
                </a:rPr>
                <a:t>and</a:t>
              </a:r>
              <a:r>
                <a:rPr kumimoji="0" lang="de-DE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Tahoma"/>
                  <a:ea typeface="+mn-ea"/>
                  <a:cs typeface="+mn-cs"/>
                </a:rPr>
                <a:t> </a:t>
              </a:r>
              <a:br>
                <a:rPr kumimoji="0" lang="de-DE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Tahoma"/>
                  <a:ea typeface="+mn-ea"/>
                  <a:cs typeface="+mn-cs"/>
                </a:rPr>
              </a:br>
              <a:r>
                <a:rPr kumimoji="0" lang="de-DE" b="0" i="0" u="none" strike="noStrike" kern="0" cap="none" spc="0" normalizeH="0" baseline="0" noProof="0" dirty="0" err="1" smtClean="0">
                  <a:ln>
                    <a:noFill/>
                  </a:ln>
                  <a:effectLst/>
                  <a:uLnTx/>
                  <a:uFillTx/>
                  <a:latin typeface="Tahoma"/>
                  <a:ea typeface="+mn-ea"/>
                  <a:cs typeface="+mn-cs"/>
                </a:rPr>
                <a:t>Collaboration</a:t>
              </a:r>
              <a:r>
                <a:rPr kumimoji="0" lang="de-DE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Tahoma"/>
                  <a:ea typeface="+mn-ea"/>
                  <a:cs typeface="+mn-cs"/>
                </a:rPr>
                <a:t> Tools</a:t>
              </a:r>
              <a:endParaRPr kumimoji="0" 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6410831" y="3517137"/>
              <a:ext cx="158511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i="1" dirty="0" smtClean="0">
                  <a:latin typeface="Tahoma"/>
                  <a:cs typeface="Tahoma"/>
                </a:rPr>
                <a:t>New </a:t>
              </a:r>
              <a:r>
                <a:rPr lang="de-DE" i="1" dirty="0" err="1" smtClean="0">
                  <a:latin typeface="Tahoma"/>
                  <a:cs typeface="Tahoma"/>
                </a:rPr>
                <a:t>Ways</a:t>
              </a:r>
              <a:r>
                <a:rPr lang="de-DE" i="1" dirty="0" smtClean="0">
                  <a:latin typeface="Tahoma"/>
                  <a:cs typeface="Tahoma"/>
                </a:rPr>
                <a:t> </a:t>
              </a:r>
              <a:r>
                <a:rPr lang="de-DE" i="1" dirty="0" err="1" smtClean="0">
                  <a:latin typeface="Tahoma"/>
                  <a:cs typeface="Tahoma"/>
                </a:rPr>
                <a:t>of</a:t>
              </a:r>
              <a:r>
                <a:rPr lang="de-DE" i="1" dirty="0" smtClean="0">
                  <a:latin typeface="Tahoma"/>
                  <a:cs typeface="Tahoma"/>
                </a:rPr>
                <a:t> </a:t>
              </a:r>
              <a:br>
                <a:rPr lang="de-DE" i="1" dirty="0" smtClean="0">
                  <a:latin typeface="Tahoma"/>
                  <a:cs typeface="Tahoma"/>
                </a:rPr>
              </a:br>
              <a:r>
                <a:rPr lang="de-DE" i="1" dirty="0" err="1" smtClean="0">
                  <a:latin typeface="Tahoma"/>
                  <a:cs typeface="Tahoma"/>
                </a:rPr>
                <a:t>Cooperation</a:t>
              </a:r>
              <a:endParaRPr lang="de-DE" i="1" dirty="0" smtClean="0">
                <a:latin typeface="Tahoma"/>
                <a:cs typeface="Tahoma"/>
              </a:endParaRPr>
            </a:p>
          </p:txBody>
        </p:sp>
        <p:pic>
          <p:nvPicPr>
            <p:cNvPr id="1028" name="Picture 4" descr="C:\Users\mfl\AppData\Local\Microsoft\Windows\Temporary Internet Files\Content.IE5\2MPXVM3N\MP900387938[1]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3373" y="3545793"/>
              <a:ext cx="440737" cy="617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9" name="Picture 5" descr="C:\Users\mfl\AppData\Local\Microsoft\Windows\Temporary Internet Files\Content.IE5\AJ2KHXEK\MP900449121[1]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6549" y="3412482"/>
              <a:ext cx="1522563" cy="7943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730201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84521"/>
            <a:ext cx="9144000" cy="5039831"/>
          </a:xfrm>
          <a:prstGeom prst="rect">
            <a:avLst/>
          </a:prstGeom>
        </p:spPr>
      </p:pic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smtClean="0">
                <a:cs typeface="Arial" pitchFamily="34" charset="0"/>
              </a:rPr>
              <a:t>Smart City</a:t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Fields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of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>
                <a:solidFill>
                  <a:srgbClr val="008080"/>
                </a:solidFill>
                <a:cs typeface="Arial" pitchFamily="34" charset="0"/>
              </a:rPr>
              <a:t>a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ctivity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198408" y="3243533"/>
            <a:ext cx="766941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Health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7051381" y="2904979"/>
            <a:ext cx="810415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Energy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6078747" y="1533368"/>
            <a:ext cx="1323183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Environment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2323008" y="2124600"/>
            <a:ext cx="879151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Mobility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4006986" y="4115930"/>
            <a:ext cx="746551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Safety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1883433" y="3669238"/>
            <a:ext cx="1071127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Education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6442593" y="4248956"/>
            <a:ext cx="1217577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…</a:t>
            </a:r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and</a:t>
            </a:r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more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1420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smtClean="0">
                <a:cs typeface="Arial" pitchFamily="34" charset="0"/>
              </a:rPr>
              <a:t>Smart (City) </a:t>
            </a:r>
            <a:r>
              <a:rPr lang="de-DE" sz="2000" b="1" dirty="0" err="1" smtClean="0">
                <a:cs typeface="Arial" pitchFamily="34" charset="0"/>
              </a:rPr>
              <a:t>Government</a:t>
            </a:r>
            <a:endParaRPr lang="de-DE" sz="2000" b="1" dirty="0" smtClean="0">
              <a:cs typeface="Arial" pitchFamily="34" charset="0"/>
            </a:endParaRPr>
          </a:p>
          <a:p>
            <a:pPr>
              <a:defRPr/>
            </a:pP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Megatrend Open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Government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Data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6" y="1377499"/>
            <a:ext cx="7507578" cy="4825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Make government data treasures available and reusable for everybody!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More transparency, better traceability</a:t>
            </a: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Commercial (</a:t>
            </a:r>
            <a:r>
              <a:rPr lang="de-DE" dirty="0" err="1" smtClean="0"/>
              <a:t>re</a:t>
            </a:r>
            <a:r>
              <a:rPr lang="de-DE" dirty="0" smtClean="0"/>
              <a:t>-)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err="1" smtClean="0"/>
              <a:t>Paradigm</a:t>
            </a:r>
            <a:r>
              <a:rPr lang="de-DE" dirty="0" smtClean="0"/>
              <a:t> </a:t>
            </a:r>
            <a:r>
              <a:rPr lang="de-DE" dirty="0" err="1" smtClean="0"/>
              <a:t>shift</a:t>
            </a:r>
            <a:r>
              <a:rPr lang="de-DE" dirty="0" smtClean="0"/>
              <a:t>: „All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public</a:t>
            </a:r>
            <a:r>
              <a:rPr lang="de-DE" dirty="0" smtClean="0"/>
              <a:t> </a:t>
            </a:r>
            <a:r>
              <a:rPr lang="de-DE" dirty="0" err="1" smtClean="0"/>
              <a:t>excep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rivacy</a:t>
            </a:r>
            <a:r>
              <a:rPr lang="de-DE" dirty="0" smtClean="0"/>
              <a:t> sensitive </a:t>
            </a:r>
            <a:r>
              <a:rPr lang="de-DE" dirty="0" err="1" smtClean="0"/>
              <a:t>data</a:t>
            </a:r>
            <a:r>
              <a:rPr lang="de-DE" dirty="0" smtClean="0"/>
              <a:t>“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err="1" smtClean="0"/>
              <a:t>Back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EU </a:t>
            </a:r>
            <a:r>
              <a:rPr lang="de-DE" dirty="0" err="1" smtClean="0"/>
              <a:t>and</a:t>
            </a:r>
            <a:r>
              <a:rPr lang="de-DE" dirty="0" smtClean="0"/>
              <a:t> national </a:t>
            </a:r>
            <a:r>
              <a:rPr lang="de-DE" dirty="0" err="1" smtClean="0"/>
              <a:t>legislation</a:t>
            </a:r>
            <a:r>
              <a:rPr lang="de-DE" dirty="0" smtClean="0"/>
              <a:t> 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Open Data </a:t>
            </a:r>
            <a:r>
              <a:rPr lang="de-DE" dirty="0" err="1"/>
              <a:t>p</a:t>
            </a:r>
            <a:r>
              <a:rPr lang="de-DE" dirty="0" err="1" smtClean="0"/>
              <a:t>rinciples</a:t>
            </a: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err="1"/>
              <a:t>m</a:t>
            </a:r>
            <a:r>
              <a:rPr lang="de-DE" dirty="0" err="1" smtClean="0"/>
              <a:t>achine</a:t>
            </a:r>
            <a:r>
              <a:rPr lang="de-DE" dirty="0" smtClean="0"/>
              <a:t> </a:t>
            </a:r>
            <a:r>
              <a:rPr lang="de-DE" dirty="0" err="1" smtClean="0"/>
              <a:t>processable</a:t>
            </a:r>
            <a:r>
              <a:rPr lang="de-DE" dirty="0" smtClean="0"/>
              <a:t>, </a:t>
            </a:r>
            <a:br>
              <a:rPr lang="de-DE" dirty="0" smtClean="0"/>
            </a:br>
            <a:r>
              <a:rPr lang="de-DE" dirty="0" smtClean="0"/>
              <a:t>non-</a:t>
            </a:r>
            <a:r>
              <a:rPr lang="de-DE" dirty="0" err="1" smtClean="0"/>
              <a:t>proprietary</a:t>
            </a:r>
            <a:r>
              <a:rPr lang="de-DE" dirty="0" smtClean="0"/>
              <a:t> </a:t>
            </a:r>
            <a:r>
              <a:rPr lang="de-DE" dirty="0" err="1" smtClean="0"/>
              <a:t>formats</a:t>
            </a:r>
            <a:r>
              <a:rPr lang="de-DE" dirty="0" smtClean="0"/>
              <a:t>, </a:t>
            </a:r>
            <a:br>
              <a:rPr lang="de-DE" dirty="0" smtClean="0"/>
            </a:br>
            <a:r>
              <a:rPr lang="de-DE" dirty="0" err="1" smtClean="0"/>
              <a:t>free</a:t>
            </a:r>
            <a:r>
              <a:rPr lang="de-DE" dirty="0" smtClean="0"/>
              <a:t> </a:t>
            </a:r>
            <a:r>
              <a:rPr lang="de-DE" dirty="0" err="1" smtClean="0"/>
              <a:t>license</a:t>
            </a:r>
            <a:r>
              <a:rPr lang="de-DE" dirty="0" smtClean="0"/>
              <a:t>…</a:t>
            </a: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err="1" smtClean="0"/>
              <a:t>Growing</a:t>
            </a:r>
            <a:r>
              <a:rPr lang="de-DE" dirty="0" smtClean="0"/>
              <a:t> </a:t>
            </a:r>
            <a:r>
              <a:rPr lang="de-DE" dirty="0" err="1" smtClean="0"/>
              <a:t>number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Open Data </a:t>
            </a:r>
            <a:r>
              <a:rPr lang="de-DE" dirty="0" err="1" smtClean="0"/>
              <a:t>portals</a:t>
            </a:r>
            <a:endParaRPr lang="de-DE" dirty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More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ore</a:t>
            </a:r>
            <a:r>
              <a:rPr lang="de-DE" dirty="0" smtClean="0"/>
              <a:t> Open Data </a:t>
            </a:r>
            <a:r>
              <a:rPr lang="de-DE" dirty="0" err="1" smtClean="0"/>
              <a:t>apps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develop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hird</a:t>
            </a:r>
            <a:r>
              <a:rPr lang="de-DE" dirty="0" smtClean="0"/>
              <a:t> </a:t>
            </a:r>
            <a:r>
              <a:rPr lang="de-DE" dirty="0" err="1" smtClean="0"/>
              <a:t>parties</a:t>
            </a: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/>
          </a:p>
        </p:txBody>
      </p:sp>
      <p:pic>
        <p:nvPicPr>
          <p:cNvPr id="1026" name="Picture 2" descr="http://blog.zeit.de/open-data/files/2010/12/opendata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1710" y="423869"/>
            <a:ext cx="3022249" cy="566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95009" y="3211034"/>
            <a:ext cx="4348991" cy="26039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7639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smtClean="0">
                <a:cs typeface="Arial" pitchFamily="34" charset="0"/>
              </a:rPr>
              <a:t>Smart (City) </a:t>
            </a:r>
            <a:r>
              <a:rPr lang="de-DE" sz="2000" b="1" dirty="0" err="1" smtClean="0">
                <a:cs typeface="Arial" pitchFamily="34" charset="0"/>
              </a:rPr>
              <a:t>Government</a:t>
            </a:r>
            <a:endParaRPr lang="de-DE" sz="2000" b="1" dirty="0" smtClean="0">
              <a:cs typeface="Arial" pitchFamily="34" charset="0"/>
            </a:endParaRPr>
          </a:p>
          <a:p>
            <a:pPr>
              <a:defRPr/>
            </a:pP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Open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service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>
                <a:solidFill>
                  <a:srgbClr val="008080"/>
                </a:solidFill>
                <a:cs typeface="Arial" pitchFamily="34" charset="0"/>
              </a:rPr>
              <a:t>p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latform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„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goBerlin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“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1377499"/>
            <a:ext cx="8664575" cy="4825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err="1" smtClean="0"/>
              <a:t>Marketplac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rusted</a:t>
            </a:r>
            <a:r>
              <a:rPr lang="de-DE" dirty="0" smtClean="0"/>
              <a:t> e-services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public</a:t>
            </a:r>
            <a:r>
              <a:rPr lang="de-DE" dirty="0" smtClean="0"/>
              <a:t> </a:t>
            </a:r>
            <a:r>
              <a:rPr lang="de-DE" dirty="0" err="1" smtClean="0"/>
              <a:t>administration</a:t>
            </a:r>
            <a:r>
              <a:rPr lang="de-DE" dirty="0" smtClean="0"/>
              <a:t> </a:t>
            </a:r>
            <a:r>
              <a:rPr lang="de-DE" b="1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business</a:t>
            </a:r>
            <a:endParaRPr lang="de-DE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App </a:t>
            </a:r>
            <a:r>
              <a:rPr lang="de-DE" dirty="0" err="1" smtClean="0"/>
              <a:t>developers</a:t>
            </a:r>
            <a:r>
              <a:rPr lang="de-DE" dirty="0" smtClean="0"/>
              <a:t> </a:t>
            </a:r>
            <a:r>
              <a:rPr lang="de-DE" dirty="0" err="1" smtClean="0"/>
              <a:t>combine</a:t>
            </a:r>
            <a:r>
              <a:rPr lang="de-DE" dirty="0" smtClean="0"/>
              <a:t> </a:t>
            </a:r>
            <a:r>
              <a:rPr lang="de-DE" dirty="0" err="1" smtClean="0"/>
              <a:t>public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private </a:t>
            </a:r>
            <a:r>
              <a:rPr lang="de-DE" dirty="0" err="1" smtClean="0"/>
              <a:t>service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citizen</a:t>
            </a:r>
            <a:r>
              <a:rPr lang="de-DE" dirty="0" smtClean="0"/>
              <a:t> </a:t>
            </a:r>
            <a:r>
              <a:rPr lang="de-DE" dirty="0" err="1" smtClean="0"/>
              <a:t>apps</a:t>
            </a:r>
            <a:endParaRPr lang="de-DE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Key </a:t>
            </a:r>
            <a:r>
              <a:rPr lang="de-DE" dirty="0" err="1" smtClean="0"/>
              <a:t>benefits</a:t>
            </a: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More online </a:t>
            </a:r>
            <a:r>
              <a:rPr lang="de-DE" dirty="0" err="1" smtClean="0"/>
              <a:t>transactions</a:t>
            </a:r>
            <a:r>
              <a:rPr lang="de-DE" dirty="0" smtClean="0"/>
              <a:t> </a:t>
            </a:r>
            <a:r>
              <a:rPr lang="de-DE" dirty="0" smtClean="0">
                <a:sym typeface="Wingdings" pitchFamily="2" charset="2"/>
              </a:rPr>
              <a:t> </a:t>
            </a:r>
            <a:r>
              <a:rPr lang="de-DE" dirty="0" err="1" smtClean="0">
                <a:sym typeface="Wingdings" pitchFamily="2" charset="2"/>
              </a:rPr>
              <a:t>reduced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processing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costs</a:t>
            </a:r>
            <a:endParaRPr lang="de-DE" dirty="0" smtClean="0">
              <a:sym typeface="Wingdings" pitchFamily="2" charset="2"/>
            </a:endParaRP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>
                <a:sym typeface="Wingdings" pitchFamily="2" charset="2"/>
              </a:rPr>
              <a:t>New </a:t>
            </a:r>
            <a:r>
              <a:rPr lang="de-DE" dirty="0" err="1" smtClean="0">
                <a:sym typeface="Wingdings" pitchFamily="2" charset="2"/>
              </a:rPr>
              <a:t>business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opportunities</a:t>
            </a:r>
            <a:r>
              <a:rPr lang="de-DE" dirty="0" smtClean="0">
                <a:sym typeface="Wingdings" pitchFamily="2" charset="2"/>
              </a:rPr>
              <a:t> (</a:t>
            </a:r>
            <a:r>
              <a:rPr lang="de-DE" dirty="0" err="1" smtClean="0">
                <a:sym typeface="Wingdings" pitchFamily="2" charset="2"/>
              </a:rPr>
              <a:t>esp</a:t>
            </a:r>
            <a:r>
              <a:rPr lang="de-DE" dirty="0" smtClean="0">
                <a:sym typeface="Wingdings" pitchFamily="2" charset="2"/>
              </a:rPr>
              <a:t>. </a:t>
            </a:r>
            <a:r>
              <a:rPr lang="de-DE" dirty="0" err="1" smtClean="0">
                <a:sym typeface="Wingdings" pitchFamily="2" charset="2"/>
              </a:rPr>
              <a:t>for</a:t>
            </a:r>
            <a:r>
              <a:rPr lang="de-DE" dirty="0" smtClean="0">
                <a:sym typeface="Wingdings" pitchFamily="2" charset="2"/>
              </a:rPr>
              <a:t> SMEs)</a:t>
            </a:r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>
                <a:sym typeface="Wingdings" pitchFamily="2" charset="2"/>
              </a:rPr>
              <a:t>Innovative </a:t>
            </a:r>
            <a:r>
              <a:rPr lang="de-DE" dirty="0" err="1" smtClean="0">
                <a:sym typeface="Wingdings" pitchFamily="2" charset="2"/>
              </a:rPr>
              <a:t>services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for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citizens</a:t>
            </a:r>
            <a:endParaRPr lang="de-DE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/>
          </a:p>
        </p:txBody>
      </p:sp>
      <p:pic>
        <p:nvPicPr>
          <p:cNvPr id="4" name="Picture 7" descr="goBerlin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9610" y="382588"/>
            <a:ext cx="1784350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loud"/>
          <p:cNvSpPr>
            <a:spLocks noChangeAspect="1" noEditPoints="1" noChangeArrowheads="1"/>
          </p:cNvSpPr>
          <p:nvPr/>
        </p:nvSpPr>
        <p:spPr bwMode="auto">
          <a:xfrm>
            <a:off x="2180048" y="5197832"/>
            <a:ext cx="4819842" cy="698481"/>
          </a:xfrm>
          <a:custGeom>
            <a:avLst/>
            <a:gdLst>
              <a:gd name="T0" fmla="*/ 12531 w 21600"/>
              <a:gd name="T1" fmla="*/ 516826 h 21600"/>
              <a:gd name="T2" fmla="*/ 2019992 w 21600"/>
              <a:gd name="T3" fmla="*/ 1032551 h 21600"/>
              <a:gd name="T4" fmla="*/ 4036617 w 21600"/>
              <a:gd name="T5" fmla="*/ 516826 h 21600"/>
              <a:gd name="T6" fmla="*/ 2019992 w 21600"/>
              <a:gd name="T7" fmla="*/ 5910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977 w 21600"/>
              <a:gd name="T13" fmla="*/ 3262 h 21600"/>
              <a:gd name="T14" fmla="*/ 17087 w 21600"/>
              <a:gd name="T15" fmla="*/ 1733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tower"/>
          <p:cNvSpPr>
            <a:spLocks noEditPoints="1" noChangeArrowheads="1"/>
          </p:cNvSpPr>
          <p:nvPr/>
        </p:nvSpPr>
        <p:spPr bwMode="auto">
          <a:xfrm>
            <a:off x="4237831" y="5743119"/>
            <a:ext cx="192088" cy="306388"/>
          </a:xfrm>
          <a:custGeom>
            <a:avLst/>
            <a:gdLst>
              <a:gd name="T0" fmla="*/ 0 w 21600"/>
              <a:gd name="T1" fmla="*/ 36404 h 21600"/>
              <a:gd name="T2" fmla="*/ 66647 w 21600"/>
              <a:gd name="T3" fmla="*/ 0 h 21600"/>
              <a:gd name="T4" fmla="*/ 108012 w 21600"/>
              <a:gd name="T5" fmla="*/ 0 h 21600"/>
              <a:gd name="T6" fmla="*/ 216024 w 21600"/>
              <a:gd name="T7" fmla="*/ 0 h 21600"/>
              <a:gd name="T8" fmla="*/ 216024 w 21600"/>
              <a:gd name="T9" fmla="*/ 194171 h 21600"/>
              <a:gd name="T10" fmla="*/ 216024 w 21600"/>
              <a:gd name="T11" fmla="*/ 323635 h 21600"/>
              <a:gd name="T12" fmla="*/ 151677 w 21600"/>
              <a:gd name="T13" fmla="*/ 360039 h 21600"/>
              <a:gd name="T14" fmla="*/ 105712 w 21600"/>
              <a:gd name="T15" fmla="*/ 360039 h 21600"/>
              <a:gd name="T16" fmla="*/ 0 w 21600"/>
              <a:gd name="T17" fmla="*/ 360039 h 21600"/>
              <a:gd name="T18" fmla="*/ 0 w 21600"/>
              <a:gd name="T19" fmla="*/ 192154 h 216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459 w 21600"/>
              <a:gd name="T31" fmla="*/ 22540 h 21600"/>
              <a:gd name="T32" fmla="*/ 21485 w 21600"/>
              <a:gd name="T33" fmla="*/ 27000 h 2160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1600" h="21600" extrusionOk="0">
                <a:moveTo>
                  <a:pt x="0" y="2184"/>
                </a:moveTo>
                <a:lnTo>
                  <a:pt x="6664" y="0"/>
                </a:lnTo>
                <a:lnTo>
                  <a:pt x="10800" y="0"/>
                </a:lnTo>
                <a:lnTo>
                  <a:pt x="21600" y="0"/>
                </a:lnTo>
                <a:lnTo>
                  <a:pt x="21600" y="11649"/>
                </a:lnTo>
                <a:lnTo>
                  <a:pt x="21600" y="19416"/>
                </a:lnTo>
                <a:lnTo>
                  <a:pt x="15166" y="21600"/>
                </a:lnTo>
                <a:lnTo>
                  <a:pt x="10570" y="21600"/>
                </a:lnTo>
                <a:lnTo>
                  <a:pt x="0" y="21600"/>
                </a:lnTo>
                <a:lnTo>
                  <a:pt x="0" y="11528"/>
                </a:lnTo>
                <a:lnTo>
                  <a:pt x="0" y="2184"/>
                </a:lnTo>
                <a:close/>
              </a:path>
              <a:path w="21600" h="21600" extrusionOk="0">
                <a:moveTo>
                  <a:pt x="0" y="2184"/>
                </a:moveTo>
                <a:lnTo>
                  <a:pt x="0" y="2184"/>
                </a:lnTo>
                <a:lnTo>
                  <a:pt x="14706" y="2184"/>
                </a:lnTo>
                <a:lnTo>
                  <a:pt x="21600" y="0"/>
                </a:lnTo>
                <a:moveTo>
                  <a:pt x="0" y="2184"/>
                </a:moveTo>
                <a:lnTo>
                  <a:pt x="14706" y="2184"/>
                </a:lnTo>
                <a:lnTo>
                  <a:pt x="14706" y="5339"/>
                </a:lnTo>
                <a:lnTo>
                  <a:pt x="14706" y="17474"/>
                </a:lnTo>
                <a:lnTo>
                  <a:pt x="14706" y="21600"/>
                </a:lnTo>
                <a:moveTo>
                  <a:pt x="1149" y="3034"/>
                </a:moveTo>
                <a:lnTo>
                  <a:pt x="13328" y="3034"/>
                </a:lnTo>
                <a:lnTo>
                  <a:pt x="13328" y="3519"/>
                </a:lnTo>
                <a:lnTo>
                  <a:pt x="1149" y="3519"/>
                </a:lnTo>
                <a:lnTo>
                  <a:pt x="1149" y="3034"/>
                </a:lnTo>
                <a:moveTo>
                  <a:pt x="1149" y="4490"/>
                </a:moveTo>
                <a:lnTo>
                  <a:pt x="13328" y="4490"/>
                </a:lnTo>
                <a:lnTo>
                  <a:pt x="13328" y="4854"/>
                </a:lnTo>
                <a:lnTo>
                  <a:pt x="1149" y="4854"/>
                </a:lnTo>
                <a:lnTo>
                  <a:pt x="1149" y="4490"/>
                </a:lnTo>
                <a:moveTo>
                  <a:pt x="1149" y="5946"/>
                </a:moveTo>
                <a:lnTo>
                  <a:pt x="13328" y="5946"/>
                </a:lnTo>
                <a:lnTo>
                  <a:pt x="13328" y="6310"/>
                </a:lnTo>
                <a:lnTo>
                  <a:pt x="1149" y="6310"/>
                </a:lnTo>
                <a:lnTo>
                  <a:pt x="1149" y="5946"/>
                </a:lnTo>
              </a:path>
            </a:pathLst>
          </a:custGeom>
          <a:gradFill rotWithShape="1">
            <a:gsLst>
              <a:gs pos="0">
                <a:srgbClr val="BCBCBC"/>
              </a:gs>
              <a:gs pos="35001">
                <a:srgbClr val="D0D0D0"/>
              </a:gs>
              <a:gs pos="100000">
                <a:srgbClr val="EDEDED"/>
              </a:gs>
            </a:gsLst>
            <a:lin ang="16200000" scaled="1"/>
          </a:gradFill>
          <a:ln w="9525" cap="flat" cmpd="sng" algn="ctr">
            <a:solidFill>
              <a:srgbClr val="000000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7" name="tower"/>
          <p:cNvSpPr>
            <a:spLocks noEditPoints="1" noChangeArrowheads="1"/>
          </p:cNvSpPr>
          <p:nvPr/>
        </p:nvSpPr>
        <p:spPr bwMode="auto">
          <a:xfrm>
            <a:off x="4472396" y="5743119"/>
            <a:ext cx="192088" cy="306388"/>
          </a:xfrm>
          <a:custGeom>
            <a:avLst/>
            <a:gdLst>
              <a:gd name="T0" fmla="*/ 0 w 21600"/>
              <a:gd name="T1" fmla="*/ 36404 h 21600"/>
              <a:gd name="T2" fmla="*/ 66647 w 21600"/>
              <a:gd name="T3" fmla="*/ 0 h 21600"/>
              <a:gd name="T4" fmla="*/ 108012 w 21600"/>
              <a:gd name="T5" fmla="*/ 0 h 21600"/>
              <a:gd name="T6" fmla="*/ 216024 w 21600"/>
              <a:gd name="T7" fmla="*/ 0 h 21600"/>
              <a:gd name="T8" fmla="*/ 216024 w 21600"/>
              <a:gd name="T9" fmla="*/ 194171 h 21600"/>
              <a:gd name="T10" fmla="*/ 216024 w 21600"/>
              <a:gd name="T11" fmla="*/ 323635 h 21600"/>
              <a:gd name="T12" fmla="*/ 151677 w 21600"/>
              <a:gd name="T13" fmla="*/ 360039 h 21600"/>
              <a:gd name="T14" fmla="*/ 105712 w 21600"/>
              <a:gd name="T15" fmla="*/ 360039 h 21600"/>
              <a:gd name="T16" fmla="*/ 0 w 21600"/>
              <a:gd name="T17" fmla="*/ 360039 h 21600"/>
              <a:gd name="T18" fmla="*/ 0 w 21600"/>
              <a:gd name="T19" fmla="*/ 192154 h 216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459 w 21600"/>
              <a:gd name="T31" fmla="*/ 22540 h 21600"/>
              <a:gd name="T32" fmla="*/ 21485 w 21600"/>
              <a:gd name="T33" fmla="*/ 27000 h 2160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1600" h="21600" extrusionOk="0">
                <a:moveTo>
                  <a:pt x="0" y="2184"/>
                </a:moveTo>
                <a:lnTo>
                  <a:pt x="6664" y="0"/>
                </a:lnTo>
                <a:lnTo>
                  <a:pt x="10800" y="0"/>
                </a:lnTo>
                <a:lnTo>
                  <a:pt x="21600" y="0"/>
                </a:lnTo>
                <a:lnTo>
                  <a:pt x="21600" y="11649"/>
                </a:lnTo>
                <a:lnTo>
                  <a:pt x="21600" y="19416"/>
                </a:lnTo>
                <a:lnTo>
                  <a:pt x="15166" y="21600"/>
                </a:lnTo>
                <a:lnTo>
                  <a:pt x="10570" y="21600"/>
                </a:lnTo>
                <a:lnTo>
                  <a:pt x="0" y="21600"/>
                </a:lnTo>
                <a:lnTo>
                  <a:pt x="0" y="11528"/>
                </a:lnTo>
                <a:lnTo>
                  <a:pt x="0" y="2184"/>
                </a:lnTo>
                <a:close/>
              </a:path>
              <a:path w="21600" h="21600" extrusionOk="0">
                <a:moveTo>
                  <a:pt x="0" y="2184"/>
                </a:moveTo>
                <a:lnTo>
                  <a:pt x="0" y="2184"/>
                </a:lnTo>
                <a:lnTo>
                  <a:pt x="14706" y="2184"/>
                </a:lnTo>
                <a:lnTo>
                  <a:pt x="21600" y="0"/>
                </a:lnTo>
                <a:moveTo>
                  <a:pt x="0" y="2184"/>
                </a:moveTo>
                <a:lnTo>
                  <a:pt x="14706" y="2184"/>
                </a:lnTo>
                <a:lnTo>
                  <a:pt x="14706" y="5339"/>
                </a:lnTo>
                <a:lnTo>
                  <a:pt x="14706" y="17474"/>
                </a:lnTo>
                <a:lnTo>
                  <a:pt x="14706" y="21600"/>
                </a:lnTo>
                <a:moveTo>
                  <a:pt x="1149" y="3034"/>
                </a:moveTo>
                <a:lnTo>
                  <a:pt x="13328" y="3034"/>
                </a:lnTo>
                <a:lnTo>
                  <a:pt x="13328" y="3519"/>
                </a:lnTo>
                <a:lnTo>
                  <a:pt x="1149" y="3519"/>
                </a:lnTo>
                <a:lnTo>
                  <a:pt x="1149" y="3034"/>
                </a:lnTo>
                <a:moveTo>
                  <a:pt x="1149" y="4490"/>
                </a:moveTo>
                <a:lnTo>
                  <a:pt x="13328" y="4490"/>
                </a:lnTo>
                <a:lnTo>
                  <a:pt x="13328" y="4854"/>
                </a:lnTo>
                <a:lnTo>
                  <a:pt x="1149" y="4854"/>
                </a:lnTo>
                <a:lnTo>
                  <a:pt x="1149" y="4490"/>
                </a:lnTo>
                <a:moveTo>
                  <a:pt x="1149" y="5946"/>
                </a:moveTo>
                <a:lnTo>
                  <a:pt x="13328" y="5946"/>
                </a:lnTo>
                <a:lnTo>
                  <a:pt x="13328" y="6310"/>
                </a:lnTo>
                <a:lnTo>
                  <a:pt x="1149" y="6310"/>
                </a:lnTo>
                <a:lnTo>
                  <a:pt x="1149" y="5946"/>
                </a:lnTo>
              </a:path>
            </a:pathLst>
          </a:custGeom>
          <a:gradFill rotWithShape="1">
            <a:gsLst>
              <a:gs pos="0">
                <a:srgbClr val="BCBCBC"/>
              </a:gs>
              <a:gs pos="35001">
                <a:srgbClr val="D0D0D0"/>
              </a:gs>
              <a:gs pos="100000">
                <a:srgbClr val="EDEDED"/>
              </a:gs>
            </a:gsLst>
            <a:lin ang="16200000" scaled="1"/>
          </a:gradFill>
          <a:ln w="9525" cap="flat" cmpd="sng" algn="ctr">
            <a:solidFill>
              <a:srgbClr val="000000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9" name="Cloud"/>
          <p:cNvSpPr>
            <a:spLocks noChangeAspect="1" noEditPoints="1" noChangeArrowheads="1"/>
          </p:cNvSpPr>
          <p:nvPr/>
        </p:nvSpPr>
        <p:spPr bwMode="auto">
          <a:xfrm>
            <a:off x="2148515" y="4460732"/>
            <a:ext cx="4776787" cy="737100"/>
          </a:xfrm>
          <a:custGeom>
            <a:avLst/>
            <a:gdLst>
              <a:gd name="T0" fmla="*/ 12917 w 21600"/>
              <a:gd name="T1" fmla="*/ 1286121 h 21600"/>
              <a:gd name="T2" fmla="*/ 2082165 w 21600"/>
              <a:gd name="T3" fmla="*/ 2569502 h 21600"/>
              <a:gd name="T4" fmla="*/ 4160859 w 21600"/>
              <a:gd name="T5" fmla="*/ 1286121 h 21600"/>
              <a:gd name="T6" fmla="*/ 2082165 w 21600"/>
              <a:gd name="T7" fmla="*/ 14707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977 w 21600"/>
              <a:gd name="T13" fmla="*/ 3262 h 21600"/>
              <a:gd name="T14" fmla="*/ 17087 w 21600"/>
              <a:gd name="T15" fmla="*/ 1733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Textfeld 53"/>
          <p:cNvSpPr txBox="1">
            <a:spLocks noChangeArrowheads="1"/>
          </p:cNvSpPr>
          <p:nvPr/>
        </p:nvSpPr>
        <p:spPr bwMode="auto">
          <a:xfrm>
            <a:off x="2358628" y="4460732"/>
            <a:ext cx="458612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1" hangingPunct="1">
              <a:spcBef>
                <a:spcPct val="0"/>
              </a:spcBef>
            </a:pP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/>
            </a:r>
            <a:b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</a:br>
            <a:r>
              <a:rPr kumimoji="0" lang="de-DE" sz="1600" dirty="0" err="1" smtClean="0">
                <a:solidFill>
                  <a:schemeClr val="tx1"/>
                </a:solidFill>
                <a:cs typeface="Tahoma" pitchFamily="34" charset="0"/>
              </a:rPr>
              <a:t>Marketplace</a:t>
            </a: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> </a:t>
            </a:r>
            <a:r>
              <a:rPr kumimoji="0" lang="de-DE" sz="1600" dirty="0" err="1" smtClean="0">
                <a:solidFill>
                  <a:schemeClr val="tx1"/>
                </a:solidFill>
                <a:cs typeface="Tahoma" pitchFamily="34" charset="0"/>
              </a:rPr>
              <a:t>for</a:t>
            </a: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> Public </a:t>
            </a:r>
            <a:r>
              <a:rPr kumimoji="0" lang="de-DE" sz="1600" dirty="0" err="1" smtClean="0">
                <a:solidFill>
                  <a:schemeClr val="tx1"/>
                </a:solidFill>
                <a:cs typeface="Tahoma" pitchFamily="34" charset="0"/>
              </a:rPr>
              <a:t>and</a:t>
            </a:r>
            <a:r>
              <a:rPr lang="de-DE" sz="1600" dirty="0" smtClean="0">
                <a:cs typeface="Tahoma" pitchFamily="34" charset="0"/>
              </a:rPr>
              <a:t> Commercial </a:t>
            </a: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>Services</a:t>
            </a:r>
          </a:p>
          <a:p>
            <a:pPr eaLnBrk="1" hangingPunct="1">
              <a:spcBef>
                <a:spcPct val="0"/>
              </a:spcBef>
            </a:pPr>
            <a:endParaRPr lang="de-DE" sz="1600" dirty="0" smtClean="0">
              <a:cs typeface="Tahoma" pitchFamily="34" charset="0"/>
            </a:endParaRPr>
          </a:p>
        </p:txBody>
      </p:sp>
      <p:sp>
        <p:nvSpPr>
          <p:cNvPr id="11" name="Textfeld 53"/>
          <p:cNvSpPr txBox="1">
            <a:spLocks noChangeArrowheads="1"/>
          </p:cNvSpPr>
          <p:nvPr/>
        </p:nvSpPr>
        <p:spPr bwMode="auto">
          <a:xfrm>
            <a:off x="3085183" y="5387723"/>
            <a:ext cx="45861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1" hangingPunct="1">
              <a:spcBef>
                <a:spcPct val="0"/>
              </a:spcBef>
            </a:pPr>
            <a:r>
              <a:rPr kumimoji="0" lang="de-DE" sz="1600" dirty="0" err="1" smtClean="0">
                <a:solidFill>
                  <a:schemeClr val="tx1"/>
                </a:solidFill>
                <a:cs typeface="Tahoma" pitchFamily="34" charset="0"/>
              </a:rPr>
              <a:t>Cloud</a:t>
            </a: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> Computing Infrastructure</a:t>
            </a:r>
            <a:r>
              <a:rPr lang="de-DE" sz="1600" dirty="0" smtClean="0">
                <a:cs typeface="Tahoma" pitchFamily="34" charset="0"/>
              </a:rPr>
              <a:t> </a:t>
            </a:r>
            <a:endParaRPr kumimoji="0" lang="de-DE" sz="1600" dirty="0">
              <a:solidFill>
                <a:schemeClr val="tx1"/>
              </a:solidFill>
              <a:cs typeface="Tahoma" pitchFamily="34" charset="0"/>
            </a:endParaRPr>
          </a:p>
        </p:txBody>
      </p:sp>
      <p:sp>
        <p:nvSpPr>
          <p:cNvPr id="12" name="Cloud"/>
          <p:cNvSpPr>
            <a:spLocks noChangeAspect="1" noEditPoints="1" noChangeArrowheads="1"/>
          </p:cNvSpPr>
          <p:nvPr/>
        </p:nvSpPr>
        <p:spPr bwMode="auto">
          <a:xfrm>
            <a:off x="2180046" y="3752206"/>
            <a:ext cx="4819843" cy="691607"/>
          </a:xfrm>
          <a:custGeom>
            <a:avLst/>
            <a:gdLst>
              <a:gd name="T0" fmla="*/ 12540 w 21600"/>
              <a:gd name="T1" fmla="*/ 648072 h 21600"/>
              <a:gd name="T2" fmla="*/ 2021328 w 21600"/>
              <a:gd name="T3" fmla="*/ 1294764 h 21600"/>
              <a:gd name="T4" fmla="*/ 4039286 w 21600"/>
              <a:gd name="T5" fmla="*/ 648072 h 21600"/>
              <a:gd name="T6" fmla="*/ 2021328 w 21600"/>
              <a:gd name="T7" fmla="*/ 74108 h 21600"/>
              <a:gd name="T8" fmla="*/ 0 60000 65536"/>
              <a:gd name="T9" fmla="*/ 0 60000 65536"/>
              <a:gd name="T10" fmla="*/ 0 60000 65536"/>
              <a:gd name="T11" fmla="*/ 0 60000 65536"/>
              <a:gd name="T12" fmla="*/ 2977 w 21600"/>
              <a:gd name="T13" fmla="*/ 3262 h 21600"/>
              <a:gd name="T14" fmla="*/ 17087 w 21600"/>
              <a:gd name="T15" fmla="*/ 1733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endParaRPr lang="en-US"/>
          </a:p>
        </p:txBody>
      </p:sp>
      <p:sp>
        <p:nvSpPr>
          <p:cNvPr id="13" name="Textfeld 53"/>
          <p:cNvSpPr txBox="1">
            <a:spLocks noChangeArrowheads="1"/>
          </p:cNvSpPr>
          <p:nvPr/>
        </p:nvSpPr>
        <p:spPr bwMode="auto">
          <a:xfrm>
            <a:off x="2339174" y="3976562"/>
            <a:ext cx="45861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eaLnBrk="1" hangingPunct="1">
              <a:spcBef>
                <a:spcPct val="0"/>
              </a:spcBef>
            </a:pP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>        Portal </a:t>
            </a:r>
            <a:r>
              <a:rPr kumimoji="0" lang="de-DE" sz="1600" dirty="0" err="1" smtClean="0">
                <a:solidFill>
                  <a:schemeClr val="tx1"/>
                </a:solidFill>
                <a:cs typeface="Tahoma" pitchFamily="34" charset="0"/>
              </a:rPr>
              <a:t>with</a:t>
            </a: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> </a:t>
            </a:r>
            <a:r>
              <a:rPr kumimoji="0" lang="de-DE" sz="1600" dirty="0" err="1" smtClean="0">
                <a:solidFill>
                  <a:schemeClr val="tx1"/>
                </a:solidFill>
                <a:cs typeface="Tahoma" pitchFamily="34" charset="0"/>
              </a:rPr>
              <a:t>Trusted</a:t>
            </a: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> Apps </a:t>
            </a:r>
            <a:r>
              <a:rPr kumimoji="0" lang="de-DE" sz="1600" dirty="0" err="1" smtClean="0">
                <a:solidFill>
                  <a:schemeClr val="tx1"/>
                </a:solidFill>
                <a:cs typeface="Tahoma" pitchFamily="34" charset="0"/>
              </a:rPr>
              <a:t>for</a:t>
            </a: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> </a:t>
            </a:r>
            <a:r>
              <a:rPr kumimoji="0" lang="de-DE" sz="1600" dirty="0" err="1" smtClean="0">
                <a:solidFill>
                  <a:schemeClr val="tx1"/>
                </a:solidFill>
                <a:cs typeface="Tahoma" pitchFamily="34" charset="0"/>
              </a:rPr>
              <a:t>Citizens</a:t>
            </a:r>
            <a:endParaRPr kumimoji="0" lang="de-DE" sz="1600" dirty="0">
              <a:solidFill>
                <a:schemeClr val="tx1"/>
              </a:solidFill>
              <a:cs typeface="Tahoma" pitchFamily="34" charset="0"/>
            </a:endParaRPr>
          </a:p>
        </p:txBody>
      </p:sp>
      <p:grpSp>
        <p:nvGrpSpPr>
          <p:cNvPr id="14" name="Group 152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 flipH="1">
            <a:off x="1095856" y="4358873"/>
            <a:ext cx="341627" cy="824588"/>
            <a:chOff x="665" y="2842"/>
            <a:chExt cx="452" cy="920"/>
          </a:xfrm>
        </p:grpSpPr>
        <p:sp>
          <p:nvSpPr>
            <p:cNvPr id="15" name="Freeform 153"/>
            <p:cNvSpPr>
              <a:spLocks noChangeAspect="1"/>
            </p:cNvSpPr>
            <p:nvPr/>
          </p:nvSpPr>
          <p:spPr bwMode="auto">
            <a:xfrm>
              <a:off x="917" y="3222"/>
              <a:ext cx="6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2" y="6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lnTo>
                    <a:pt x="2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4E91C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54"/>
            <p:cNvSpPr>
              <a:spLocks noChangeAspect="1"/>
            </p:cNvSpPr>
            <p:nvPr/>
          </p:nvSpPr>
          <p:spPr bwMode="auto">
            <a:xfrm>
              <a:off x="665" y="2956"/>
              <a:ext cx="452" cy="806"/>
            </a:xfrm>
            <a:custGeom>
              <a:avLst/>
              <a:gdLst/>
              <a:ahLst/>
              <a:cxnLst>
                <a:cxn ang="0">
                  <a:pos x="252" y="56"/>
                </a:cxn>
                <a:cxn ang="0">
                  <a:pos x="242" y="70"/>
                </a:cxn>
                <a:cxn ang="0">
                  <a:pos x="232" y="100"/>
                </a:cxn>
                <a:cxn ang="0">
                  <a:pos x="218" y="188"/>
                </a:cxn>
                <a:cxn ang="0">
                  <a:pos x="216" y="300"/>
                </a:cxn>
                <a:cxn ang="0">
                  <a:pos x="196" y="426"/>
                </a:cxn>
                <a:cxn ang="0">
                  <a:pos x="200" y="438"/>
                </a:cxn>
                <a:cxn ang="0">
                  <a:pos x="180" y="532"/>
                </a:cxn>
                <a:cxn ang="0">
                  <a:pos x="166" y="572"/>
                </a:cxn>
                <a:cxn ang="0">
                  <a:pos x="154" y="608"/>
                </a:cxn>
                <a:cxn ang="0">
                  <a:pos x="152" y="638"/>
                </a:cxn>
                <a:cxn ang="0">
                  <a:pos x="124" y="650"/>
                </a:cxn>
                <a:cxn ang="0">
                  <a:pos x="102" y="686"/>
                </a:cxn>
                <a:cxn ang="0">
                  <a:pos x="82" y="742"/>
                </a:cxn>
                <a:cxn ang="0">
                  <a:pos x="48" y="748"/>
                </a:cxn>
                <a:cxn ang="0">
                  <a:pos x="20" y="744"/>
                </a:cxn>
                <a:cxn ang="0">
                  <a:pos x="0" y="754"/>
                </a:cxn>
                <a:cxn ang="0">
                  <a:pos x="48" y="784"/>
                </a:cxn>
                <a:cxn ang="0">
                  <a:pos x="98" y="790"/>
                </a:cxn>
                <a:cxn ang="0">
                  <a:pos x="104" y="794"/>
                </a:cxn>
                <a:cxn ang="0">
                  <a:pos x="126" y="804"/>
                </a:cxn>
                <a:cxn ang="0">
                  <a:pos x="148" y="782"/>
                </a:cxn>
                <a:cxn ang="0">
                  <a:pos x="152" y="764"/>
                </a:cxn>
                <a:cxn ang="0">
                  <a:pos x="174" y="736"/>
                </a:cxn>
                <a:cxn ang="0">
                  <a:pos x="176" y="714"/>
                </a:cxn>
                <a:cxn ang="0">
                  <a:pos x="236" y="644"/>
                </a:cxn>
                <a:cxn ang="0">
                  <a:pos x="284" y="544"/>
                </a:cxn>
                <a:cxn ang="0">
                  <a:pos x="344" y="684"/>
                </a:cxn>
                <a:cxn ang="0">
                  <a:pos x="354" y="712"/>
                </a:cxn>
                <a:cxn ang="0">
                  <a:pos x="368" y="720"/>
                </a:cxn>
                <a:cxn ang="0">
                  <a:pos x="348" y="758"/>
                </a:cxn>
                <a:cxn ang="0">
                  <a:pos x="334" y="768"/>
                </a:cxn>
                <a:cxn ang="0">
                  <a:pos x="296" y="782"/>
                </a:cxn>
                <a:cxn ang="0">
                  <a:pos x="300" y="790"/>
                </a:cxn>
                <a:cxn ang="0">
                  <a:pos x="352" y="794"/>
                </a:cxn>
                <a:cxn ang="0">
                  <a:pos x="376" y="790"/>
                </a:cxn>
                <a:cxn ang="0">
                  <a:pos x="400" y="792"/>
                </a:cxn>
                <a:cxn ang="0">
                  <a:pos x="446" y="792"/>
                </a:cxn>
                <a:cxn ang="0">
                  <a:pos x="452" y="754"/>
                </a:cxn>
                <a:cxn ang="0">
                  <a:pos x="426" y="630"/>
                </a:cxn>
                <a:cxn ang="0">
                  <a:pos x="388" y="518"/>
                </a:cxn>
                <a:cxn ang="0">
                  <a:pos x="376" y="472"/>
                </a:cxn>
                <a:cxn ang="0">
                  <a:pos x="374" y="440"/>
                </a:cxn>
                <a:cxn ang="0">
                  <a:pos x="382" y="354"/>
                </a:cxn>
                <a:cxn ang="0">
                  <a:pos x="384" y="258"/>
                </a:cxn>
                <a:cxn ang="0">
                  <a:pos x="366" y="82"/>
                </a:cxn>
                <a:cxn ang="0">
                  <a:pos x="334" y="30"/>
                </a:cxn>
                <a:cxn ang="0">
                  <a:pos x="318" y="6"/>
                </a:cxn>
              </a:cxnLst>
              <a:rect l="0" t="0" r="r" b="b"/>
              <a:pathLst>
                <a:path w="452" h="806">
                  <a:moveTo>
                    <a:pt x="312" y="0"/>
                  </a:moveTo>
                  <a:lnTo>
                    <a:pt x="254" y="40"/>
                  </a:lnTo>
                  <a:lnTo>
                    <a:pt x="250" y="50"/>
                  </a:lnTo>
                  <a:lnTo>
                    <a:pt x="252" y="56"/>
                  </a:lnTo>
                  <a:lnTo>
                    <a:pt x="252" y="56"/>
                  </a:lnTo>
                  <a:lnTo>
                    <a:pt x="246" y="62"/>
                  </a:lnTo>
                  <a:lnTo>
                    <a:pt x="244" y="66"/>
                  </a:lnTo>
                  <a:lnTo>
                    <a:pt x="242" y="70"/>
                  </a:lnTo>
                  <a:lnTo>
                    <a:pt x="242" y="70"/>
                  </a:lnTo>
                  <a:lnTo>
                    <a:pt x="242" y="76"/>
                  </a:lnTo>
                  <a:lnTo>
                    <a:pt x="232" y="100"/>
                  </a:lnTo>
                  <a:lnTo>
                    <a:pt x="232" y="100"/>
                  </a:lnTo>
                  <a:lnTo>
                    <a:pt x="222" y="134"/>
                  </a:lnTo>
                  <a:lnTo>
                    <a:pt x="222" y="134"/>
                  </a:lnTo>
                  <a:lnTo>
                    <a:pt x="220" y="158"/>
                  </a:lnTo>
                  <a:lnTo>
                    <a:pt x="218" y="188"/>
                  </a:lnTo>
                  <a:lnTo>
                    <a:pt x="218" y="188"/>
                  </a:lnTo>
                  <a:lnTo>
                    <a:pt x="218" y="250"/>
                  </a:lnTo>
                  <a:lnTo>
                    <a:pt x="218" y="250"/>
                  </a:lnTo>
                  <a:lnTo>
                    <a:pt x="216" y="300"/>
                  </a:lnTo>
                  <a:lnTo>
                    <a:pt x="216" y="300"/>
                  </a:lnTo>
                  <a:lnTo>
                    <a:pt x="204" y="362"/>
                  </a:lnTo>
                  <a:lnTo>
                    <a:pt x="198" y="408"/>
                  </a:lnTo>
                  <a:lnTo>
                    <a:pt x="196" y="426"/>
                  </a:lnTo>
                  <a:lnTo>
                    <a:pt x="198" y="432"/>
                  </a:lnTo>
                  <a:lnTo>
                    <a:pt x="200" y="434"/>
                  </a:lnTo>
                  <a:lnTo>
                    <a:pt x="200" y="434"/>
                  </a:lnTo>
                  <a:lnTo>
                    <a:pt x="200" y="438"/>
                  </a:lnTo>
                  <a:lnTo>
                    <a:pt x="200" y="442"/>
                  </a:lnTo>
                  <a:lnTo>
                    <a:pt x="200" y="456"/>
                  </a:lnTo>
                  <a:lnTo>
                    <a:pt x="192" y="494"/>
                  </a:lnTo>
                  <a:lnTo>
                    <a:pt x="180" y="532"/>
                  </a:lnTo>
                  <a:lnTo>
                    <a:pt x="172" y="554"/>
                  </a:lnTo>
                  <a:lnTo>
                    <a:pt x="172" y="554"/>
                  </a:lnTo>
                  <a:lnTo>
                    <a:pt x="168" y="564"/>
                  </a:lnTo>
                  <a:lnTo>
                    <a:pt x="166" y="572"/>
                  </a:lnTo>
                  <a:lnTo>
                    <a:pt x="164" y="582"/>
                  </a:lnTo>
                  <a:lnTo>
                    <a:pt x="164" y="582"/>
                  </a:lnTo>
                  <a:lnTo>
                    <a:pt x="160" y="592"/>
                  </a:lnTo>
                  <a:lnTo>
                    <a:pt x="154" y="608"/>
                  </a:lnTo>
                  <a:lnTo>
                    <a:pt x="154" y="608"/>
                  </a:lnTo>
                  <a:lnTo>
                    <a:pt x="152" y="626"/>
                  </a:lnTo>
                  <a:lnTo>
                    <a:pt x="152" y="638"/>
                  </a:lnTo>
                  <a:lnTo>
                    <a:pt x="152" y="638"/>
                  </a:lnTo>
                  <a:lnTo>
                    <a:pt x="140" y="642"/>
                  </a:lnTo>
                  <a:lnTo>
                    <a:pt x="130" y="646"/>
                  </a:lnTo>
                  <a:lnTo>
                    <a:pt x="124" y="650"/>
                  </a:lnTo>
                  <a:lnTo>
                    <a:pt x="124" y="650"/>
                  </a:lnTo>
                  <a:lnTo>
                    <a:pt x="114" y="668"/>
                  </a:lnTo>
                  <a:lnTo>
                    <a:pt x="108" y="680"/>
                  </a:lnTo>
                  <a:lnTo>
                    <a:pt x="102" y="686"/>
                  </a:lnTo>
                  <a:lnTo>
                    <a:pt x="102" y="686"/>
                  </a:lnTo>
                  <a:lnTo>
                    <a:pt x="88" y="702"/>
                  </a:lnTo>
                  <a:lnTo>
                    <a:pt x="80" y="712"/>
                  </a:lnTo>
                  <a:lnTo>
                    <a:pt x="70" y="728"/>
                  </a:lnTo>
                  <a:lnTo>
                    <a:pt x="82" y="742"/>
                  </a:lnTo>
                  <a:lnTo>
                    <a:pt x="68" y="746"/>
                  </a:lnTo>
                  <a:lnTo>
                    <a:pt x="68" y="746"/>
                  </a:lnTo>
                  <a:lnTo>
                    <a:pt x="48" y="748"/>
                  </a:lnTo>
                  <a:lnTo>
                    <a:pt x="48" y="748"/>
                  </a:lnTo>
                  <a:lnTo>
                    <a:pt x="40" y="748"/>
                  </a:lnTo>
                  <a:lnTo>
                    <a:pt x="32" y="746"/>
                  </a:lnTo>
                  <a:lnTo>
                    <a:pt x="32" y="746"/>
                  </a:lnTo>
                  <a:lnTo>
                    <a:pt x="20" y="744"/>
                  </a:lnTo>
                  <a:lnTo>
                    <a:pt x="14" y="744"/>
                  </a:lnTo>
                  <a:lnTo>
                    <a:pt x="8" y="746"/>
                  </a:lnTo>
                  <a:lnTo>
                    <a:pt x="0" y="754"/>
                  </a:lnTo>
                  <a:lnTo>
                    <a:pt x="0" y="754"/>
                  </a:lnTo>
                  <a:lnTo>
                    <a:pt x="16" y="766"/>
                  </a:lnTo>
                  <a:lnTo>
                    <a:pt x="32" y="776"/>
                  </a:lnTo>
                  <a:lnTo>
                    <a:pt x="48" y="784"/>
                  </a:lnTo>
                  <a:lnTo>
                    <a:pt x="48" y="784"/>
                  </a:lnTo>
                  <a:lnTo>
                    <a:pt x="66" y="788"/>
                  </a:lnTo>
                  <a:lnTo>
                    <a:pt x="80" y="790"/>
                  </a:lnTo>
                  <a:lnTo>
                    <a:pt x="98" y="790"/>
                  </a:lnTo>
                  <a:lnTo>
                    <a:pt x="98" y="790"/>
                  </a:lnTo>
                  <a:lnTo>
                    <a:pt x="100" y="790"/>
                  </a:lnTo>
                  <a:lnTo>
                    <a:pt x="102" y="792"/>
                  </a:lnTo>
                  <a:lnTo>
                    <a:pt x="104" y="794"/>
                  </a:lnTo>
                  <a:lnTo>
                    <a:pt x="104" y="794"/>
                  </a:lnTo>
                  <a:lnTo>
                    <a:pt x="110" y="800"/>
                  </a:lnTo>
                  <a:lnTo>
                    <a:pt x="118" y="802"/>
                  </a:lnTo>
                  <a:lnTo>
                    <a:pt x="126" y="804"/>
                  </a:lnTo>
                  <a:lnTo>
                    <a:pt x="126" y="804"/>
                  </a:lnTo>
                  <a:lnTo>
                    <a:pt x="144" y="806"/>
                  </a:lnTo>
                  <a:lnTo>
                    <a:pt x="150" y="788"/>
                  </a:lnTo>
                  <a:lnTo>
                    <a:pt x="148" y="782"/>
                  </a:lnTo>
                  <a:lnTo>
                    <a:pt x="148" y="782"/>
                  </a:lnTo>
                  <a:lnTo>
                    <a:pt x="150" y="780"/>
                  </a:lnTo>
                  <a:lnTo>
                    <a:pt x="152" y="772"/>
                  </a:lnTo>
                  <a:lnTo>
                    <a:pt x="152" y="772"/>
                  </a:lnTo>
                  <a:lnTo>
                    <a:pt x="152" y="764"/>
                  </a:lnTo>
                  <a:lnTo>
                    <a:pt x="152" y="762"/>
                  </a:lnTo>
                  <a:lnTo>
                    <a:pt x="152" y="762"/>
                  </a:lnTo>
                  <a:lnTo>
                    <a:pt x="164" y="746"/>
                  </a:lnTo>
                  <a:lnTo>
                    <a:pt x="174" y="736"/>
                  </a:lnTo>
                  <a:lnTo>
                    <a:pt x="176" y="726"/>
                  </a:lnTo>
                  <a:lnTo>
                    <a:pt x="176" y="726"/>
                  </a:lnTo>
                  <a:lnTo>
                    <a:pt x="176" y="714"/>
                  </a:lnTo>
                  <a:lnTo>
                    <a:pt x="176" y="714"/>
                  </a:lnTo>
                  <a:lnTo>
                    <a:pt x="194" y="698"/>
                  </a:lnTo>
                  <a:lnTo>
                    <a:pt x="218" y="670"/>
                  </a:lnTo>
                  <a:lnTo>
                    <a:pt x="218" y="670"/>
                  </a:lnTo>
                  <a:lnTo>
                    <a:pt x="236" y="644"/>
                  </a:lnTo>
                  <a:lnTo>
                    <a:pt x="246" y="628"/>
                  </a:lnTo>
                  <a:lnTo>
                    <a:pt x="254" y="610"/>
                  </a:lnTo>
                  <a:lnTo>
                    <a:pt x="254" y="610"/>
                  </a:lnTo>
                  <a:lnTo>
                    <a:pt x="284" y="544"/>
                  </a:lnTo>
                  <a:lnTo>
                    <a:pt x="284" y="544"/>
                  </a:lnTo>
                  <a:lnTo>
                    <a:pt x="310" y="606"/>
                  </a:lnTo>
                  <a:lnTo>
                    <a:pt x="330" y="654"/>
                  </a:lnTo>
                  <a:lnTo>
                    <a:pt x="344" y="684"/>
                  </a:lnTo>
                  <a:lnTo>
                    <a:pt x="344" y="684"/>
                  </a:lnTo>
                  <a:lnTo>
                    <a:pt x="350" y="696"/>
                  </a:lnTo>
                  <a:lnTo>
                    <a:pt x="352" y="706"/>
                  </a:lnTo>
                  <a:lnTo>
                    <a:pt x="354" y="712"/>
                  </a:lnTo>
                  <a:lnTo>
                    <a:pt x="358" y="716"/>
                  </a:lnTo>
                  <a:lnTo>
                    <a:pt x="358" y="716"/>
                  </a:lnTo>
                  <a:lnTo>
                    <a:pt x="362" y="718"/>
                  </a:lnTo>
                  <a:lnTo>
                    <a:pt x="368" y="720"/>
                  </a:lnTo>
                  <a:lnTo>
                    <a:pt x="374" y="720"/>
                  </a:lnTo>
                  <a:lnTo>
                    <a:pt x="354" y="750"/>
                  </a:lnTo>
                  <a:lnTo>
                    <a:pt x="348" y="758"/>
                  </a:lnTo>
                  <a:lnTo>
                    <a:pt x="348" y="758"/>
                  </a:lnTo>
                  <a:lnTo>
                    <a:pt x="344" y="762"/>
                  </a:lnTo>
                  <a:lnTo>
                    <a:pt x="338" y="766"/>
                  </a:lnTo>
                  <a:lnTo>
                    <a:pt x="334" y="768"/>
                  </a:lnTo>
                  <a:lnTo>
                    <a:pt x="334" y="768"/>
                  </a:lnTo>
                  <a:lnTo>
                    <a:pt x="306" y="774"/>
                  </a:lnTo>
                  <a:lnTo>
                    <a:pt x="300" y="780"/>
                  </a:lnTo>
                  <a:lnTo>
                    <a:pt x="296" y="782"/>
                  </a:lnTo>
                  <a:lnTo>
                    <a:pt x="296" y="782"/>
                  </a:lnTo>
                  <a:lnTo>
                    <a:pt x="296" y="784"/>
                  </a:lnTo>
                  <a:lnTo>
                    <a:pt x="296" y="786"/>
                  </a:lnTo>
                  <a:lnTo>
                    <a:pt x="300" y="790"/>
                  </a:lnTo>
                  <a:lnTo>
                    <a:pt x="300" y="790"/>
                  </a:lnTo>
                  <a:lnTo>
                    <a:pt x="308" y="792"/>
                  </a:lnTo>
                  <a:lnTo>
                    <a:pt x="324" y="794"/>
                  </a:lnTo>
                  <a:lnTo>
                    <a:pt x="340" y="794"/>
                  </a:lnTo>
                  <a:lnTo>
                    <a:pt x="352" y="794"/>
                  </a:lnTo>
                  <a:lnTo>
                    <a:pt x="352" y="794"/>
                  </a:lnTo>
                  <a:lnTo>
                    <a:pt x="364" y="794"/>
                  </a:lnTo>
                  <a:lnTo>
                    <a:pt x="376" y="790"/>
                  </a:lnTo>
                  <a:lnTo>
                    <a:pt x="376" y="790"/>
                  </a:lnTo>
                  <a:lnTo>
                    <a:pt x="390" y="786"/>
                  </a:lnTo>
                  <a:lnTo>
                    <a:pt x="398" y="784"/>
                  </a:lnTo>
                  <a:lnTo>
                    <a:pt x="400" y="792"/>
                  </a:lnTo>
                  <a:lnTo>
                    <a:pt x="400" y="792"/>
                  </a:lnTo>
                  <a:lnTo>
                    <a:pt x="436" y="794"/>
                  </a:lnTo>
                  <a:lnTo>
                    <a:pt x="436" y="794"/>
                  </a:lnTo>
                  <a:lnTo>
                    <a:pt x="442" y="794"/>
                  </a:lnTo>
                  <a:lnTo>
                    <a:pt x="446" y="792"/>
                  </a:lnTo>
                  <a:lnTo>
                    <a:pt x="448" y="790"/>
                  </a:lnTo>
                  <a:lnTo>
                    <a:pt x="446" y="770"/>
                  </a:lnTo>
                  <a:lnTo>
                    <a:pt x="444" y="758"/>
                  </a:lnTo>
                  <a:lnTo>
                    <a:pt x="452" y="754"/>
                  </a:lnTo>
                  <a:lnTo>
                    <a:pt x="452" y="754"/>
                  </a:lnTo>
                  <a:lnTo>
                    <a:pt x="438" y="678"/>
                  </a:lnTo>
                  <a:lnTo>
                    <a:pt x="438" y="678"/>
                  </a:lnTo>
                  <a:lnTo>
                    <a:pt x="426" y="630"/>
                  </a:lnTo>
                  <a:lnTo>
                    <a:pt x="414" y="586"/>
                  </a:lnTo>
                  <a:lnTo>
                    <a:pt x="414" y="586"/>
                  </a:lnTo>
                  <a:lnTo>
                    <a:pt x="400" y="550"/>
                  </a:lnTo>
                  <a:lnTo>
                    <a:pt x="388" y="518"/>
                  </a:lnTo>
                  <a:lnTo>
                    <a:pt x="388" y="518"/>
                  </a:lnTo>
                  <a:lnTo>
                    <a:pt x="384" y="500"/>
                  </a:lnTo>
                  <a:lnTo>
                    <a:pt x="382" y="490"/>
                  </a:lnTo>
                  <a:lnTo>
                    <a:pt x="376" y="472"/>
                  </a:lnTo>
                  <a:lnTo>
                    <a:pt x="376" y="472"/>
                  </a:lnTo>
                  <a:lnTo>
                    <a:pt x="374" y="460"/>
                  </a:lnTo>
                  <a:lnTo>
                    <a:pt x="374" y="440"/>
                  </a:lnTo>
                  <a:lnTo>
                    <a:pt x="374" y="440"/>
                  </a:lnTo>
                  <a:lnTo>
                    <a:pt x="368" y="422"/>
                  </a:lnTo>
                  <a:lnTo>
                    <a:pt x="378" y="420"/>
                  </a:lnTo>
                  <a:lnTo>
                    <a:pt x="378" y="420"/>
                  </a:lnTo>
                  <a:lnTo>
                    <a:pt x="382" y="354"/>
                  </a:lnTo>
                  <a:lnTo>
                    <a:pt x="384" y="300"/>
                  </a:lnTo>
                  <a:lnTo>
                    <a:pt x="384" y="276"/>
                  </a:lnTo>
                  <a:lnTo>
                    <a:pt x="384" y="258"/>
                  </a:lnTo>
                  <a:lnTo>
                    <a:pt x="384" y="258"/>
                  </a:lnTo>
                  <a:lnTo>
                    <a:pt x="376" y="164"/>
                  </a:lnTo>
                  <a:lnTo>
                    <a:pt x="372" y="114"/>
                  </a:lnTo>
                  <a:lnTo>
                    <a:pt x="366" y="82"/>
                  </a:lnTo>
                  <a:lnTo>
                    <a:pt x="366" y="82"/>
                  </a:lnTo>
                  <a:lnTo>
                    <a:pt x="364" y="72"/>
                  </a:lnTo>
                  <a:lnTo>
                    <a:pt x="360" y="62"/>
                  </a:lnTo>
                  <a:lnTo>
                    <a:pt x="350" y="48"/>
                  </a:lnTo>
                  <a:lnTo>
                    <a:pt x="334" y="30"/>
                  </a:lnTo>
                  <a:lnTo>
                    <a:pt x="334" y="30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18" y="6"/>
                  </a:lnTo>
                  <a:lnTo>
                    <a:pt x="316" y="2"/>
                  </a:lnTo>
                  <a:lnTo>
                    <a:pt x="312" y="0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55"/>
            <p:cNvSpPr>
              <a:spLocks noChangeAspect="1"/>
            </p:cNvSpPr>
            <p:nvPr/>
          </p:nvSpPr>
          <p:spPr bwMode="auto">
            <a:xfrm>
              <a:off x="981" y="3012"/>
              <a:ext cx="130" cy="336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34" y="0"/>
                </a:cxn>
                <a:cxn ang="0">
                  <a:pos x="50" y="22"/>
                </a:cxn>
                <a:cxn ang="0">
                  <a:pos x="62" y="42"/>
                </a:cxn>
                <a:cxn ang="0">
                  <a:pos x="68" y="50"/>
                </a:cxn>
                <a:cxn ang="0">
                  <a:pos x="70" y="58"/>
                </a:cxn>
                <a:cxn ang="0">
                  <a:pos x="70" y="58"/>
                </a:cxn>
                <a:cxn ang="0">
                  <a:pos x="82" y="104"/>
                </a:cxn>
                <a:cxn ang="0">
                  <a:pos x="90" y="140"/>
                </a:cxn>
                <a:cxn ang="0">
                  <a:pos x="90" y="140"/>
                </a:cxn>
                <a:cxn ang="0">
                  <a:pos x="96" y="150"/>
                </a:cxn>
                <a:cxn ang="0">
                  <a:pos x="98" y="154"/>
                </a:cxn>
                <a:cxn ang="0">
                  <a:pos x="100" y="160"/>
                </a:cxn>
                <a:cxn ang="0">
                  <a:pos x="100" y="160"/>
                </a:cxn>
                <a:cxn ang="0">
                  <a:pos x="100" y="174"/>
                </a:cxn>
                <a:cxn ang="0">
                  <a:pos x="102" y="182"/>
                </a:cxn>
                <a:cxn ang="0">
                  <a:pos x="104" y="188"/>
                </a:cxn>
                <a:cxn ang="0">
                  <a:pos x="104" y="188"/>
                </a:cxn>
                <a:cxn ang="0">
                  <a:pos x="106" y="198"/>
                </a:cxn>
                <a:cxn ang="0">
                  <a:pos x="110" y="216"/>
                </a:cxn>
                <a:cxn ang="0">
                  <a:pos x="114" y="248"/>
                </a:cxn>
                <a:cxn ang="0">
                  <a:pos x="114" y="248"/>
                </a:cxn>
                <a:cxn ang="0">
                  <a:pos x="114" y="264"/>
                </a:cxn>
                <a:cxn ang="0">
                  <a:pos x="116" y="268"/>
                </a:cxn>
                <a:cxn ang="0">
                  <a:pos x="118" y="274"/>
                </a:cxn>
                <a:cxn ang="0">
                  <a:pos x="118" y="274"/>
                </a:cxn>
                <a:cxn ang="0">
                  <a:pos x="122" y="284"/>
                </a:cxn>
                <a:cxn ang="0">
                  <a:pos x="128" y="302"/>
                </a:cxn>
                <a:cxn ang="0">
                  <a:pos x="130" y="320"/>
                </a:cxn>
                <a:cxn ang="0">
                  <a:pos x="130" y="326"/>
                </a:cxn>
                <a:cxn ang="0">
                  <a:pos x="128" y="330"/>
                </a:cxn>
                <a:cxn ang="0">
                  <a:pos x="128" y="330"/>
                </a:cxn>
                <a:cxn ang="0">
                  <a:pos x="116" y="332"/>
                </a:cxn>
                <a:cxn ang="0">
                  <a:pos x="98" y="334"/>
                </a:cxn>
                <a:cxn ang="0">
                  <a:pos x="72" y="336"/>
                </a:cxn>
                <a:cxn ang="0">
                  <a:pos x="72" y="336"/>
                </a:cxn>
                <a:cxn ang="0">
                  <a:pos x="68" y="302"/>
                </a:cxn>
                <a:cxn ang="0">
                  <a:pos x="68" y="302"/>
                </a:cxn>
                <a:cxn ang="0">
                  <a:pos x="60" y="262"/>
                </a:cxn>
                <a:cxn ang="0">
                  <a:pos x="42" y="200"/>
                </a:cxn>
                <a:cxn ang="0">
                  <a:pos x="12" y="94"/>
                </a:cxn>
                <a:cxn ang="0">
                  <a:pos x="12" y="94"/>
                </a:cxn>
                <a:cxn ang="0">
                  <a:pos x="2" y="56"/>
                </a:cxn>
                <a:cxn ang="0">
                  <a:pos x="0" y="42"/>
                </a:cxn>
                <a:cxn ang="0">
                  <a:pos x="2" y="28"/>
                </a:cxn>
                <a:cxn ang="0">
                  <a:pos x="2" y="28"/>
                </a:cxn>
                <a:cxn ang="0">
                  <a:pos x="6" y="22"/>
                </a:cxn>
                <a:cxn ang="0">
                  <a:pos x="10" y="16"/>
                </a:cxn>
                <a:cxn ang="0">
                  <a:pos x="20" y="6"/>
                </a:cxn>
                <a:cxn ang="0">
                  <a:pos x="30" y="2"/>
                </a:cxn>
                <a:cxn ang="0">
                  <a:pos x="34" y="0"/>
                </a:cxn>
                <a:cxn ang="0">
                  <a:pos x="34" y="0"/>
                </a:cxn>
              </a:cxnLst>
              <a:rect l="0" t="0" r="r" b="b"/>
              <a:pathLst>
                <a:path w="130" h="336">
                  <a:moveTo>
                    <a:pt x="34" y="0"/>
                  </a:moveTo>
                  <a:lnTo>
                    <a:pt x="34" y="0"/>
                  </a:lnTo>
                  <a:lnTo>
                    <a:pt x="50" y="22"/>
                  </a:lnTo>
                  <a:lnTo>
                    <a:pt x="62" y="42"/>
                  </a:lnTo>
                  <a:lnTo>
                    <a:pt x="68" y="50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82" y="104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96" y="150"/>
                  </a:lnTo>
                  <a:lnTo>
                    <a:pt x="98" y="154"/>
                  </a:lnTo>
                  <a:lnTo>
                    <a:pt x="100" y="160"/>
                  </a:lnTo>
                  <a:lnTo>
                    <a:pt x="100" y="160"/>
                  </a:lnTo>
                  <a:lnTo>
                    <a:pt x="100" y="174"/>
                  </a:lnTo>
                  <a:lnTo>
                    <a:pt x="102" y="182"/>
                  </a:lnTo>
                  <a:lnTo>
                    <a:pt x="104" y="188"/>
                  </a:lnTo>
                  <a:lnTo>
                    <a:pt x="104" y="188"/>
                  </a:lnTo>
                  <a:lnTo>
                    <a:pt x="106" y="198"/>
                  </a:lnTo>
                  <a:lnTo>
                    <a:pt x="110" y="216"/>
                  </a:lnTo>
                  <a:lnTo>
                    <a:pt x="114" y="248"/>
                  </a:lnTo>
                  <a:lnTo>
                    <a:pt x="114" y="248"/>
                  </a:lnTo>
                  <a:lnTo>
                    <a:pt x="114" y="264"/>
                  </a:lnTo>
                  <a:lnTo>
                    <a:pt x="116" y="268"/>
                  </a:lnTo>
                  <a:lnTo>
                    <a:pt x="118" y="274"/>
                  </a:lnTo>
                  <a:lnTo>
                    <a:pt x="118" y="274"/>
                  </a:lnTo>
                  <a:lnTo>
                    <a:pt x="122" y="284"/>
                  </a:lnTo>
                  <a:lnTo>
                    <a:pt x="128" y="302"/>
                  </a:lnTo>
                  <a:lnTo>
                    <a:pt x="130" y="320"/>
                  </a:lnTo>
                  <a:lnTo>
                    <a:pt x="130" y="326"/>
                  </a:lnTo>
                  <a:lnTo>
                    <a:pt x="128" y="330"/>
                  </a:lnTo>
                  <a:lnTo>
                    <a:pt x="128" y="330"/>
                  </a:lnTo>
                  <a:lnTo>
                    <a:pt x="116" y="332"/>
                  </a:lnTo>
                  <a:lnTo>
                    <a:pt x="98" y="334"/>
                  </a:lnTo>
                  <a:lnTo>
                    <a:pt x="72" y="336"/>
                  </a:lnTo>
                  <a:lnTo>
                    <a:pt x="72" y="336"/>
                  </a:lnTo>
                  <a:lnTo>
                    <a:pt x="68" y="302"/>
                  </a:lnTo>
                  <a:lnTo>
                    <a:pt x="68" y="302"/>
                  </a:lnTo>
                  <a:lnTo>
                    <a:pt x="60" y="262"/>
                  </a:lnTo>
                  <a:lnTo>
                    <a:pt x="42" y="200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" y="56"/>
                  </a:lnTo>
                  <a:lnTo>
                    <a:pt x="0" y="42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6" y="22"/>
                  </a:lnTo>
                  <a:lnTo>
                    <a:pt x="10" y="16"/>
                  </a:lnTo>
                  <a:lnTo>
                    <a:pt x="20" y="6"/>
                  </a:lnTo>
                  <a:lnTo>
                    <a:pt x="30" y="2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56"/>
            <p:cNvSpPr>
              <a:spLocks noChangeAspect="1"/>
            </p:cNvSpPr>
            <p:nvPr/>
          </p:nvSpPr>
          <p:spPr bwMode="auto">
            <a:xfrm>
              <a:off x="1063" y="3332"/>
              <a:ext cx="46" cy="66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0" y="34"/>
                </a:cxn>
                <a:cxn ang="0">
                  <a:pos x="2" y="42"/>
                </a:cxn>
                <a:cxn ang="0">
                  <a:pos x="8" y="60"/>
                </a:cxn>
                <a:cxn ang="0">
                  <a:pos x="14" y="64"/>
                </a:cxn>
                <a:cxn ang="0">
                  <a:pos x="22" y="66"/>
                </a:cxn>
                <a:cxn ang="0">
                  <a:pos x="30" y="66"/>
                </a:cxn>
                <a:cxn ang="0">
                  <a:pos x="32" y="64"/>
                </a:cxn>
                <a:cxn ang="0">
                  <a:pos x="32" y="62"/>
                </a:cxn>
                <a:cxn ang="0">
                  <a:pos x="28" y="62"/>
                </a:cxn>
                <a:cxn ang="0">
                  <a:pos x="20" y="58"/>
                </a:cxn>
                <a:cxn ang="0">
                  <a:pos x="18" y="56"/>
                </a:cxn>
                <a:cxn ang="0">
                  <a:pos x="18" y="52"/>
                </a:cxn>
                <a:cxn ang="0">
                  <a:pos x="20" y="56"/>
                </a:cxn>
                <a:cxn ang="0">
                  <a:pos x="26" y="60"/>
                </a:cxn>
                <a:cxn ang="0">
                  <a:pos x="34" y="56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4" y="50"/>
                </a:cxn>
                <a:cxn ang="0">
                  <a:pos x="40" y="48"/>
                </a:cxn>
                <a:cxn ang="0">
                  <a:pos x="42" y="44"/>
                </a:cxn>
                <a:cxn ang="0">
                  <a:pos x="42" y="40"/>
                </a:cxn>
                <a:cxn ang="0">
                  <a:pos x="42" y="38"/>
                </a:cxn>
                <a:cxn ang="0">
                  <a:pos x="46" y="36"/>
                </a:cxn>
                <a:cxn ang="0">
                  <a:pos x="46" y="32"/>
                </a:cxn>
                <a:cxn ang="0">
                  <a:pos x="46" y="28"/>
                </a:cxn>
                <a:cxn ang="0">
                  <a:pos x="42" y="24"/>
                </a:cxn>
                <a:cxn ang="0">
                  <a:pos x="40" y="22"/>
                </a:cxn>
                <a:cxn ang="0">
                  <a:pos x="40" y="16"/>
                </a:cxn>
                <a:cxn ang="0">
                  <a:pos x="36" y="6"/>
                </a:cxn>
                <a:cxn ang="0">
                  <a:pos x="32" y="2"/>
                </a:cxn>
                <a:cxn ang="0">
                  <a:pos x="24" y="0"/>
                </a:cxn>
                <a:cxn ang="0">
                  <a:pos x="14" y="0"/>
                </a:cxn>
                <a:cxn ang="0">
                  <a:pos x="6" y="6"/>
                </a:cxn>
                <a:cxn ang="0">
                  <a:pos x="2" y="10"/>
                </a:cxn>
              </a:cxnLst>
              <a:rect l="0" t="0" r="r" b="b"/>
              <a:pathLst>
                <a:path w="46" h="66">
                  <a:moveTo>
                    <a:pt x="2" y="10"/>
                  </a:moveTo>
                  <a:lnTo>
                    <a:pt x="2" y="10"/>
                  </a:lnTo>
                  <a:lnTo>
                    <a:pt x="0" y="24"/>
                  </a:lnTo>
                  <a:lnTo>
                    <a:pt x="0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6" y="5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4" y="64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8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20" y="56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30" y="60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6" y="50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2" y="44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2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4" y="26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6" y="6"/>
                  </a:lnTo>
                  <a:lnTo>
                    <a:pt x="2" y="10"/>
                  </a:lnTo>
                  <a:lnTo>
                    <a:pt x="2" y="1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57"/>
            <p:cNvSpPr>
              <a:spLocks noChangeAspect="1"/>
            </p:cNvSpPr>
            <p:nvPr/>
          </p:nvSpPr>
          <p:spPr bwMode="auto">
            <a:xfrm>
              <a:off x="799" y="3164"/>
              <a:ext cx="126" cy="174"/>
            </a:xfrm>
            <a:custGeom>
              <a:avLst/>
              <a:gdLst/>
              <a:ahLst/>
              <a:cxnLst>
                <a:cxn ang="0">
                  <a:pos x="94" y="4"/>
                </a:cxn>
                <a:cxn ang="0">
                  <a:pos x="76" y="48"/>
                </a:cxn>
                <a:cxn ang="0">
                  <a:pos x="68" y="58"/>
                </a:cxn>
                <a:cxn ang="0">
                  <a:pos x="62" y="68"/>
                </a:cxn>
                <a:cxn ang="0">
                  <a:pos x="58" y="80"/>
                </a:cxn>
                <a:cxn ang="0">
                  <a:pos x="56" y="84"/>
                </a:cxn>
                <a:cxn ang="0">
                  <a:pos x="24" y="128"/>
                </a:cxn>
                <a:cxn ang="0">
                  <a:pos x="14" y="136"/>
                </a:cxn>
                <a:cxn ang="0">
                  <a:pos x="10" y="144"/>
                </a:cxn>
                <a:cxn ang="0">
                  <a:pos x="8" y="152"/>
                </a:cxn>
                <a:cxn ang="0">
                  <a:pos x="6" y="160"/>
                </a:cxn>
                <a:cxn ang="0">
                  <a:pos x="2" y="164"/>
                </a:cxn>
                <a:cxn ang="0">
                  <a:pos x="2" y="166"/>
                </a:cxn>
                <a:cxn ang="0">
                  <a:pos x="6" y="166"/>
                </a:cxn>
                <a:cxn ang="0">
                  <a:pos x="12" y="164"/>
                </a:cxn>
                <a:cxn ang="0">
                  <a:pos x="16" y="166"/>
                </a:cxn>
                <a:cxn ang="0">
                  <a:pos x="18" y="166"/>
                </a:cxn>
                <a:cxn ang="0">
                  <a:pos x="18" y="166"/>
                </a:cxn>
                <a:cxn ang="0">
                  <a:pos x="22" y="172"/>
                </a:cxn>
                <a:cxn ang="0">
                  <a:pos x="28" y="170"/>
                </a:cxn>
                <a:cxn ang="0">
                  <a:pos x="30" y="168"/>
                </a:cxn>
                <a:cxn ang="0">
                  <a:pos x="32" y="172"/>
                </a:cxn>
                <a:cxn ang="0">
                  <a:pos x="34" y="172"/>
                </a:cxn>
                <a:cxn ang="0">
                  <a:pos x="36" y="170"/>
                </a:cxn>
                <a:cxn ang="0">
                  <a:pos x="40" y="174"/>
                </a:cxn>
                <a:cxn ang="0">
                  <a:pos x="44" y="172"/>
                </a:cxn>
                <a:cxn ang="0">
                  <a:pos x="46" y="170"/>
                </a:cxn>
                <a:cxn ang="0">
                  <a:pos x="52" y="150"/>
                </a:cxn>
                <a:cxn ang="0">
                  <a:pos x="78" y="128"/>
                </a:cxn>
                <a:cxn ang="0">
                  <a:pos x="88" y="118"/>
                </a:cxn>
                <a:cxn ang="0">
                  <a:pos x="104" y="94"/>
                </a:cxn>
                <a:cxn ang="0">
                  <a:pos x="118" y="60"/>
                </a:cxn>
                <a:cxn ang="0">
                  <a:pos x="126" y="24"/>
                </a:cxn>
                <a:cxn ang="0">
                  <a:pos x="126" y="10"/>
                </a:cxn>
                <a:cxn ang="0">
                  <a:pos x="118" y="2"/>
                </a:cxn>
                <a:cxn ang="0">
                  <a:pos x="112" y="0"/>
                </a:cxn>
                <a:cxn ang="0">
                  <a:pos x="100" y="2"/>
                </a:cxn>
                <a:cxn ang="0">
                  <a:pos x="94" y="4"/>
                </a:cxn>
              </a:cxnLst>
              <a:rect l="0" t="0" r="r" b="b"/>
              <a:pathLst>
                <a:path w="126" h="174">
                  <a:moveTo>
                    <a:pt x="94" y="4"/>
                  </a:moveTo>
                  <a:lnTo>
                    <a:pt x="94" y="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54"/>
                  </a:lnTo>
                  <a:lnTo>
                    <a:pt x="68" y="58"/>
                  </a:lnTo>
                  <a:lnTo>
                    <a:pt x="64" y="62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58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24" y="122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14" y="136"/>
                  </a:lnTo>
                  <a:lnTo>
                    <a:pt x="14" y="136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8" y="152"/>
                  </a:lnTo>
                  <a:lnTo>
                    <a:pt x="6" y="156"/>
                  </a:lnTo>
                  <a:lnTo>
                    <a:pt x="6" y="160"/>
                  </a:lnTo>
                  <a:lnTo>
                    <a:pt x="6" y="160"/>
                  </a:lnTo>
                  <a:lnTo>
                    <a:pt x="2" y="164"/>
                  </a:lnTo>
                  <a:lnTo>
                    <a:pt x="0" y="166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6" y="166"/>
                  </a:lnTo>
                  <a:lnTo>
                    <a:pt x="12" y="164"/>
                  </a:lnTo>
                  <a:lnTo>
                    <a:pt x="12" y="164"/>
                  </a:lnTo>
                  <a:lnTo>
                    <a:pt x="14" y="164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8" y="166"/>
                  </a:lnTo>
                  <a:lnTo>
                    <a:pt x="18" y="166"/>
                  </a:lnTo>
                  <a:lnTo>
                    <a:pt x="18" y="166"/>
                  </a:lnTo>
                  <a:lnTo>
                    <a:pt x="20" y="168"/>
                  </a:lnTo>
                  <a:lnTo>
                    <a:pt x="22" y="172"/>
                  </a:lnTo>
                  <a:lnTo>
                    <a:pt x="22" y="172"/>
                  </a:lnTo>
                  <a:lnTo>
                    <a:pt x="28" y="170"/>
                  </a:lnTo>
                  <a:lnTo>
                    <a:pt x="30" y="168"/>
                  </a:lnTo>
                  <a:lnTo>
                    <a:pt x="30" y="168"/>
                  </a:lnTo>
                  <a:lnTo>
                    <a:pt x="30" y="170"/>
                  </a:lnTo>
                  <a:lnTo>
                    <a:pt x="32" y="172"/>
                  </a:lnTo>
                  <a:lnTo>
                    <a:pt x="32" y="172"/>
                  </a:lnTo>
                  <a:lnTo>
                    <a:pt x="34" y="172"/>
                  </a:lnTo>
                  <a:lnTo>
                    <a:pt x="36" y="172"/>
                  </a:lnTo>
                  <a:lnTo>
                    <a:pt x="36" y="170"/>
                  </a:lnTo>
                  <a:lnTo>
                    <a:pt x="36" y="170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4" y="172"/>
                  </a:lnTo>
                  <a:lnTo>
                    <a:pt x="46" y="170"/>
                  </a:lnTo>
                  <a:lnTo>
                    <a:pt x="46" y="170"/>
                  </a:lnTo>
                  <a:lnTo>
                    <a:pt x="48" y="158"/>
                  </a:lnTo>
                  <a:lnTo>
                    <a:pt x="52" y="150"/>
                  </a:lnTo>
                  <a:lnTo>
                    <a:pt x="60" y="154"/>
                  </a:lnTo>
                  <a:lnTo>
                    <a:pt x="78" y="128"/>
                  </a:lnTo>
                  <a:lnTo>
                    <a:pt x="78" y="128"/>
                  </a:lnTo>
                  <a:lnTo>
                    <a:pt x="88" y="118"/>
                  </a:lnTo>
                  <a:lnTo>
                    <a:pt x="96" y="106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18" y="60"/>
                  </a:lnTo>
                  <a:lnTo>
                    <a:pt x="122" y="40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6" y="10"/>
                  </a:lnTo>
                  <a:lnTo>
                    <a:pt x="122" y="4"/>
                  </a:lnTo>
                  <a:lnTo>
                    <a:pt x="118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06" y="0"/>
                  </a:lnTo>
                  <a:lnTo>
                    <a:pt x="100" y="2"/>
                  </a:lnTo>
                  <a:lnTo>
                    <a:pt x="94" y="4"/>
                  </a:lnTo>
                  <a:lnTo>
                    <a:pt x="94" y="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158"/>
            <p:cNvSpPr>
              <a:spLocks noChangeAspect="1"/>
            </p:cNvSpPr>
            <p:nvPr/>
          </p:nvSpPr>
          <p:spPr bwMode="auto">
            <a:xfrm>
              <a:off x="669" y="3304"/>
              <a:ext cx="234" cy="214"/>
            </a:xfrm>
            <a:custGeom>
              <a:avLst/>
              <a:gdLst/>
              <a:ahLst/>
              <a:cxnLst>
                <a:cxn ang="0">
                  <a:pos x="52" y="0"/>
                </a:cxn>
                <a:cxn ang="0">
                  <a:pos x="38" y="16"/>
                </a:cxn>
                <a:cxn ang="0">
                  <a:pos x="0" y="152"/>
                </a:cxn>
                <a:cxn ang="0">
                  <a:pos x="172" y="210"/>
                </a:cxn>
                <a:cxn ang="0">
                  <a:pos x="188" y="214"/>
                </a:cxn>
                <a:cxn ang="0">
                  <a:pos x="234" y="78"/>
                </a:cxn>
                <a:cxn ang="0">
                  <a:pos x="228" y="60"/>
                </a:cxn>
                <a:cxn ang="0">
                  <a:pos x="52" y="0"/>
                </a:cxn>
              </a:cxnLst>
              <a:rect l="0" t="0" r="r" b="b"/>
              <a:pathLst>
                <a:path w="234" h="214">
                  <a:moveTo>
                    <a:pt x="52" y="0"/>
                  </a:moveTo>
                  <a:lnTo>
                    <a:pt x="38" y="16"/>
                  </a:lnTo>
                  <a:lnTo>
                    <a:pt x="0" y="152"/>
                  </a:lnTo>
                  <a:lnTo>
                    <a:pt x="172" y="210"/>
                  </a:lnTo>
                  <a:lnTo>
                    <a:pt x="188" y="214"/>
                  </a:lnTo>
                  <a:lnTo>
                    <a:pt x="234" y="78"/>
                  </a:lnTo>
                  <a:lnTo>
                    <a:pt x="228" y="60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159"/>
            <p:cNvSpPr>
              <a:spLocks noChangeAspect="1"/>
            </p:cNvSpPr>
            <p:nvPr/>
          </p:nvSpPr>
          <p:spPr bwMode="auto">
            <a:xfrm>
              <a:off x="873" y="2842"/>
              <a:ext cx="116" cy="170"/>
            </a:xfrm>
            <a:custGeom>
              <a:avLst/>
              <a:gdLst/>
              <a:ahLst/>
              <a:cxnLst>
                <a:cxn ang="0">
                  <a:pos x="12" y="30"/>
                </a:cxn>
                <a:cxn ang="0">
                  <a:pos x="6" y="52"/>
                </a:cxn>
                <a:cxn ang="0">
                  <a:pos x="6" y="60"/>
                </a:cxn>
                <a:cxn ang="0">
                  <a:pos x="8" y="70"/>
                </a:cxn>
                <a:cxn ang="0">
                  <a:pos x="2" y="90"/>
                </a:cxn>
                <a:cxn ang="0">
                  <a:pos x="10" y="102"/>
                </a:cxn>
                <a:cxn ang="0">
                  <a:pos x="14" y="106"/>
                </a:cxn>
                <a:cxn ang="0">
                  <a:pos x="10" y="110"/>
                </a:cxn>
                <a:cxn ang="0">
                  <a:pos x="14" y="112"/>
                </a:cxn>
                <a:cxn ang="0">
                  <a:pos x="16" y="118"/>
                </a:cxn>
                <a:cxn ang="0">
                  <a:pos x="14" y="124"/>
                </a:cxn>
                <a:cxn ang="0">
                  <a:pos x="14" y="132"/>
                </a:cxn>
                <a:cxn ang="0">
                  <a:pos x="18" y="136"/>
                </a:cxn>
                <a:cxn ang="0">
                  <a:pos x="34" y="136"/>
                </a:cxn>
                <a:cxn ang="0">
                  <a:pos x="46" y="138"/>
                </a:cxn>
                <a:cxn ang="0">
                  <a:pos x="54" y="160"/>
                </a:cxn>
                <a:cxn ang="0">
                  <a:pos x="48" y="164"/>
                </a:cxn>
                <a:cxn ang="0">
                  <a:pos x="106" y="132"/>
                </a:cxn>
                <a:cxn ang="0">
                  <a:pos x="110" y="110"/>
                </a:cxn>
                <a:cxn ang="0">
                  <a:pos x="112" y="86"/>
                </a:cxn>
                <a:cxn ang="0">
                  <a:pos x="116" y="58"/>
                </a:cxn>
                <a:cxn ang="0">
                  <a:pos x="114" y="32"/>
                </a:cxn>
                <a:cxn ang="0">
                  <a:pos x="110" y="22"/>
                </a:cxn>
                <a:cxn ang="0">
                  <a:pos x="92" y="8"/>
                </a:cxn>
                <a:cxn ang="0">
                  <a:pos x="84" y="4"/>
                </a:cxn>
                <a:cxn ang="0">
                  <a:pos x="62" y="0"/>
                </a:cxn>
                <a:cxn ang="0">
                  <a:pos x="52" y="2"/>
                </a:cxn>
                <a:cxn ang="0">
                  <a:pos x="34" y="4"/>
                </a:cxn>
                <a:cxn ang="0">
                  <a:pos x="16" y="8"/>
                </a:cxn>
                <a:cxn ang="0">
                  <a:pos x="10" y="10"/>
                </a:cxn>
                <a:cxn ang="0">
                  <a:pos x="6" y="20"/>
                </a:cxn>
                <a:cxn ang="0">
                  <a:pos x="6" y="24"/>
                </a:cxn>
                <a:cxn ang="0">
                  <a:pos x="10" y="30"/>
                </a:cxn>
                <a:cxn ang="0">
                  <a:pos x="12" y="30"/>
                </a:cxn>
              </a:cxnLst>
              <a:rect l="0" t="0" r="r" b="b"/>
              <a:pathLst>
                <a:path w="116" h="170">
                  <a:moveTo>
                    <a:pt x="12" y="30"/>
                  </a:moveTo>
                  <a:lnTo>
                    <a:pt x="12" y="30"/>
                  </a:lnTo>
                  <a:lnTo>
                    <a:pt x="10" y="4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60"/>
                  </a:lnTo>
                  <a:lnTo>
                    <a:pt x="4" y="62"/>
                  </a:lnTo>
                  <a:lnTo>
                    <a:pt x="8" y="70"/>
                  </a:lnTo>
                  <a:lnTo>
                    <a:pt x="0" y="88"/>
                  </a:lnTo>
                  <a:lnTo>
                    <a:pt x="2" y="90"/>
                  </a:lnTo>
                  <a:lnTo>
                    <a:pt x="12" y="94"/>
                  </a:lnTo>
                  <a:lnTo>
                    <a:pt x="10" y="102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2" y="106"/>
                  </a:lnTo>
                  <a:lnTo>
                    <a:pt x="10" y="110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6" y="116"/>
                  </a:lnTo>
                  <a:lnTo>
                    <a:pt x="16" y="118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30"/>
                  </a:lnTo>
                  <a:lnTo>
                    <a:pt x="14" y="132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26" y="138"/>
                  </a:lnTo>
                  <a:lnTo>
                    <a:pt x="34" y="136"/>
                  </a:lnTo>
                  <a:lnTo>
                    <a:pt x="42" y="136"/>
                  </a:lnTo>
                  <a:lnTo>
                    <a:pt x="46" y="138"/>
                  </a:lnTo>
                  <a:lnTo>
                    <a:pt x="46" y="138"/>
                  </a:lnTo>
                  <a:lnTo>
                    <a:pt x="54" y="160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2" y="170"/>
                  </a:lnTo>
                  <a:lnTo>
                    <a:pt x="106" y="132"/>
                  </a:lnTo>
                  <a:lnTo>
                    <a:pt x="102" y="116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6" y="58"/>
                  </a:lnTo>
                  <a:lnTo>
                    <a:pt x="116" y="44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0" y="22"/>
                  </a:lnTo>
                  <a:lnTo>
                    <a:pt x="102" y="14"/>
                  </a:lnTo>
                  <a:lnTo>
                    <a:pt x="92" y="8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68" y="0"/>
                  </a:lnTo>
                  <a:lnTo>
                    <a:pt x="62" y="0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44" y="4"/>
                  </a:lnTo>
                  <a:lnTo>
                    <a:pt x="34" y="4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2" y="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160"/>
            <p:cNvSpPr>
              <a:spLocks noChangeAspect="1"/>
            </p:cNvSpPr>
            <p:nvPr/>
          </p:nvSpPr>
          <p:spPr bwMode="auto">
            <a:xfrm>
              <a:off x="893" y="2958"/>
              <a:ext cx="92" cy="116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32" y="36"/>
                </a:cxn>
                <a:cxn ang="0">
                  <a:pos x="26" y="46"/>
                </a:cxn>
                <a:cxn ang="0">
                  <a:pos x="22" y="58"/>
                </a:cxn>
                <a:cxn ang="0">
                  <a:pos x="14" y="70"/>
                </a:cxn>
                <a:cxn ang="0">
                  <a:pos x="10" y="82"/>
                </a:cxn>
                <a:cxn ang="0">
                  <a:pos x="0" y="116"/>
                </a:cxn>
                <a:cxn ang="0">
                  <a:pos x="0" y="116"/>
                </a:cxn>
                <a:cxn ang="0">
                  <a:pos x="18" y="92"/>
                </a:cxn>
                <a:cxn ang="0">
                  <a:pos x="32" y="72"/>
                </a:cxn>
                <a:cxn ang="0">
                  <a:pos x="42" y="58"/>
                </a:cxn>
                <a:cxn ang="0">
                  <a:pos x="42" y="50"/>
                </a:cxn>
                <a:cxn ang="0">
                  <a:pos x="92" y="8"/>
                </a:cxn>
                <a:cxn ang="0">
                  <a:pos x="86" y="0"/>
                </a:cxn>
              </a:cxnLst>
              <a:rect l="0" t="0" r="r" b="b"/>
              <a:pathLst>
                <a:path w="92" h="116">
                  <a:moveTo>
                    <a:pt x="86" y="0"/>
                  </a:moveTo>
                  <a:lnTo>
                    <a:pt x="32" y="36"/>
                  </a:lnTo>
                  <a:lnTo>
                    <a:pt x="26" y="46"/>
                  </a:lnTo>
                  <a:lnTo>
                    <a:pt x="22" y="58"/>
                  </a:lnTo>
                  <a:lnTo>
                    <a:pt x="14" y="70"/>
                  </a:lnTo>
                  <a:lnTo>
                    <a:pt x="10" y="8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18" y="92"/>
                  </a:lnTo>
                  <a:lnTo>
                    <a:pt x="32" y="72"/>
                  </a:lnTo>
                  <a:lnTo>
                    <a:pt x="42" y="58"/>
                  </a:lnTo>
                  <a:lnTo>
                    <a:pt x="42" y="50"/>
                  </a:lnTo>
                  <a:lnTo>
                    <a:pt x="92" y="8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161"/>
            <p:cNvSpPr>
              <a:spLocks noChangeAspect="1"/>
            </p:cNvSpPr>
            <p:nvPr/>
          </p:nvSpPr>
          <p:spPr bwMode="auto">
            <a:xfrm>
              <a:off x="893" y="2990"/>
              <a:ext cx="32" cy="90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2" y="0"/>
                </a:cxn>
                <a:cxn ang="0">
                  <a:pos x="26" y="4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20" y="14"/>
                </a:cxn>
                <a:cxn ang="0">
                  <a:pos x="20" y="18"/>
                </a:cxn>
                <a:cxn ang="0">
                  <a:pos x="20" y="18"/>
                </a:cxn>
                <a:cxn ang="0">
                  <a:pos x="18" y="22"/>
                </a:cxn>
                <a:cxn ang="0">
                  <a:pos x="16" y="26"/>
                </a:cxn>
                <a:cxn ang="0">
                  <a:pos x="16" y="26"/>
                </a:cxn>
                <a:cxn ang="0">
                  <a:pos x="10" y="32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50"/>
                </a:cxn>
                <a:cxn ang="0">
                  <a:pos x="6" y="60"/>
                </a:cxn>
                <a:cxn ang="0">
                  <a:pos x="6" y="60"/>
                </a:cxn>
                <a:cxn ang="0">
                  <a:pos x="2" y="74"/>
                </a:cxn>
                <a:cxn ang="0">
                  <a:pos x="0" y="82"/>
                </a:cxn>
                <a:cxn ang="0">
                  <a:pos x="0" y="90"/>
                </a:cxn>
                <a:cxn ang="0">
                  <a:pos x="0" y="90"/>
                </a:cxn>
                <a:cxn ang="0">
                  <a:pos x="10" y="78"/>
                </a:cxn>
                <a:cxn ang="0">
                  <a:pos x="14" y="72"/>
                </a:cxn>
                <a:cxn ang="0">
                  <a:pos x="18" y="66"/>
                </a:cxn>
                <a:cxn ang="0">
                  <a:pos x="18" y="66"/>
                </a:cxn>
                <a:cxn ang="0">
                  <a:pos x="22" y="48"/>
                </a:cxn>
                <a:cxn ang="0">
                  <a:pos x="22" y="48"/>
                </a:cxn>
                <a:cxn ang="0">
                  <a:pos x="24" y="38"/>
                </a:cxn>
                <a:cxn ang="0">
                  <a:pos x="26" y="28"/>
                </a:cxn>
                <a:cxn ang="0">
                  <a:pos x="26" y="28"/>
                </a:cxn>
                <a:cxn ang="0">
                  <a:pos x="28" y="22"/>
                </a:cxn>
                <a:cxn ang="0">
                  <a:pos x="30" y="16"/>
                </a:cxn>
                <a:cxn ang="0">
                  <a:pos x="30" y="16"/>
                </a:cxn>
                <a:cxn ang="0">
                  <a:pos x="30" y="10"/>
                </a:cxn>
                <a:cxn ang="0">
                  <a:pos x="32" y="4"/>
                </a:cxn>
                <a:cxn ang="0">
                  <a:pos x="32" y="0"/>
                </a:cxn>
              </a:cxnLst>
              <a:rect l="0" t="0" r="r" b="b"/>
              <a:pathLst>
                <a:path w="32" h="90">
                  <a:moveTo>
                    <a:pt x="32" y="0"/>
                  </a:moveTo>
                  <a:lnTo>
                    <a:pt x="32" y="0"/>
                  </a:lnTo>
                  <a:lnTo>
                    <a:pt x="26" y="4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4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22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0" y="32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5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2" y="74"/>
                  </a:lnTo>
                  <a:lnTo>
                    <a:pt x="0" y="82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10" y="78"/>
                  </a:lnTo>
                  <a:lnTo>
                    <a:pt x="14" y="72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4" y="3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8" y="22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0"/>
                  </a:lnTo>
                  <a:lnTo>
                    <a:pt x="32" y="4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24" name="Picture 45" descr="bs01601_[1]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39779" y="4466590"/>
            <a:ext cx="703263" cy="709613"/>
          </a:xfrm>
          <a:prstGeom prst="rect">
            <a:avLst/>
          </a:prstGeom>
          <a:noFill/>
        </p:spPr>
      </p:pic>
      <p:grpSp>
        <p:nvGrpSpPr>
          <p:cNvPr id="25" name="Group 46"/>
          <p:cNvGrpSpPr>
            <a:grpSpLocks/>
          </p:cNvGrpSpPr>
          <p:nvPr/>
        </p:nvGrpSpPr>
        <p:grpSpPr bwMode="auto">
          <a:xfrm flipH="1">
            <a:off x="6414034" y="3461150"/>
            <a:ext cx="661987" cy="701587"/>
            <a:chOff x="609" y="3086"/>
            <a:chExt cx="417" cy="504"/>
          </a:xfrm>
        </p:grpSpPr>
        <p:grpSp>
          <p:nvGrpSpPr>
            <p:cNvPr id="26" name="Group 47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853" y="3086"/>
              <a:ext cx="173" cy="504"/>
              <a:chOff x="1351" y="1774"/>
              <a:chExt cx="352" cy="1028"/>
            </a:xfrm>
          </p:grpSpPr>
          <p:sp>
            <p:nvSpPr>
              <p:cNvPr id="28" name="Freeform 48"/>
              <p:cNvSpPr>
                <a:spLocks noChangeAspect="1"/>
              </p:cNvSpPr>
              <p:nvPr/>
            </p:nvSpPr>
            <p:spPr bwMode="auto">
              <a:xfrm>
                <a:off x="1395" y="1970"/>
                <a:ext cx="6" cy="28"/>
              </a:xfrm>
              <a:custGeom>
                <a:avLst/>
                <a:gdLst/>
                <a:ahLst/>
                <a:cxnLst>
                  <a:cxn ang="0">
                    <a:pos x="2" y="24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2" y="26"/>
                  </a:cxn>
                  <a:cxn ang="0">
                    <a:pos x="2" y="22"/>
                  </a:cxn>
                  <a:cxn ang="0">
                    <a:pos x="0" y="1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4" y="12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4" y="24"/>
                  </a:cxn>
                  <a:cxn ang="0">
                    <a:pos x="2" y="24"/>
                  </a:cxn>
                  <a:cxn ang="0">
                    <a:pos x="2" y="24"/>
                  </a:cxn>
                </a:cxnLst>
                <a:rect l="0" t="0" r="r" b="b"/>
                <a:pathLst>
                  <a:path w="6" h="28">
                    <a:moveTo>
                      <a:pt x="2" y="24"/>
                    </a:move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12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24"/>
                    </a:lnTo>
                    <a:lnTo>
                      <a:pt x="2" y="24"/>
                    </a:lnTo>
                    <a:lnTo>
                      <a:pt x="2" y="24"/>
                    </a:lnTo>
                    <a:close/>
                  </a:path>
                </a:pathLst>
              </a:custGeom>
              <a:solidFill>
                <a:srgbClr val="ABDF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Freeform 49"/>
              <p:cNvSpPr>
                <a:spLocks noChangeAspect="1"/>
              </p:cNvSpPr>
              <p:nvPr/>
            </p:nvSpPr>
            <p:spPr bwMode="auto">
              <a:xfrm>
                <a:off x="1393" y="1976"/>
                <a:ext cx="2" cy="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16"/>
                  </a:cxn>
                  <a:cxn ang="0">
                    <a:pos x="0" y="1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2" h="20">
                    <a:moveTo>
                      <a:pt x="0" y="20"/>
                    </a:moveTo>
                    <a:lnTo>
                      <a:pt x="0" y="20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ABDF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" name="Freeform 50"/>
              <p:cNvSpPr>
                <a:spLocks noChangeAspect="1"/>
              </p:cNvSpPr>
              <p:nvPr/>
            </p:nvSpPr>
            <p:spPr bwMode="auto">
              <a:xfrm>
                <a:off x="1395" y="1970"/>
                <a:ext cx="6" cy="28"/>
              </a:xfrm>
              <a:custGeom>
                <a:avLst/>
                <a:gdLst/>
                <a:ahLst/>
                <a:cxnLst>
                  <a:cxn ang="0">
                    <a:pos x="2" y="24"/>
                  </a:cxn>
                  <a:cxn ang="0">
                    <a:pos x="2" y="24"/>
                  </a:cxn>
                  <a:cxn ang="0">
                    <a:pos x="4" y="26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2" y="26"/>
                  </a:cxn>
                  <a:cxn ang="0">
                    <a:pos x="2" y="22"/>
                  </a:cxn>
                  <a:cxn ang="0">
                    <a:pos x="0" y="1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4" y="12"/>
                  </a:cxn>
                  <a:cxn ang="0">
                    <a:pos x="4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4" y="24"/>
                  </a:cxn>
                  <a:cxn ang="0">
                    <a:pos x="2" y="24"/>
                  </a:cxn>
                  <a:cxn ang="0">
                    <a:pos x="2" y="24"/>
                  </a:cxn>
                </a:cxnLst>
                <a:rect l="0" t="0" r="r" b="b"/>
                <a:pathLst>
                  <a:path w="6" h="28">
                    <a:moveTo>
                      <a:pt x="2" y="24"/>
                    </a:move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12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24"/>
                    </a:lnTo>
                    <a:lnTo>
                      <a:pt x="2" y="24"/>
                    </a:lnTo>
                    <a:lnTo>
                      <a:pt x="2" y="24"/>
                    </a:lnTo>
                    <a:close/>
                  </a:path>
                </a:pathLst>
              </a:custGeom>
              <a:solidFill>
                <a:srgbClr val="ABDF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Freeform 51"/>
              <p:cNvSpPr>
                <a:spLocks noChangeAspect="1"/>
              </p:cNvSpPr>
              <p:nvPr/>
            </p:nvSpPr>
            <p:spPr bwMode="auto">
              <a:xfrm>
                <a:off x="1393" y="1976"/>
                <a:ext cx="2" cy="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16"/>
                  </a:cxn>
                  <a:cxn ang="0">
                    <a:pos x="0" y="1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14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2" h="20">
                    <a:moveTo>
                      <a:pt x="0" y="20"/>
                    </a:moveTo>
                    <a:lnTo>
                      <a:pt x="0" y="20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4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ABDF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Freeform 52"/>
              <p:cNvSpPr>
                <a:spLocks noChangeAspect="1"/>
              </p:cNvSpPr>
              <p:nvPr/>
            </p:nvSpPr>
            <p:spPr bwMode="auto">
              <a:xfrm>
                <a:off x="1517" y="2684"/>
                <a:ext cx="172" cy="8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0" y="28"/>
                  </a:cxn>
                  <a:cxn ang="0">
                    <a:pos x="0" y="42"/>
                  </a:cxn>
                  <a:cxn ang="0">
                    <a:pos x="0" y="46"/>
                  </a:cxn>
                  <a:cxn ang="0">
                    <a:pos x="0" y="50"/>
                  </a:cxn>
                  <a:cxn ang="0">
                    <a:pos x="2" y="68"/>
                  </a:cxn>
                  <a:cxn ang="0">
                    <a:pos x="2" y="68"/>
                  </a:cxn>
                  <a:cxn ang="0">
                    <a:pos x="2" y="72"/>
                  </a:cxn>
                  <a:cxn ang="0">
                    <a:pos x="4" y="74"/>
                  </a:cxn>
                  <a:cxn ang="0">
                    <a:pos x="6" y="76"/>
                  </a:cxn>
                  <a:cxn ang="0">
                    <a:pos x="8" y="76"/>
                  </a:cxn>
                  <a:cxn ang="0">
                    <a:pos x="8" y="76"/>
                  </a:cxn>
                  <a:cxn ang="0">
                    <a:pos x="34" y="78"/>
                  </a:cxn>
                  <a:cxn ang="0">
                    <a:pos x="46" y="76"/>
                  </a:cxn>
                  <a:cxn ang="0">
                    <a:pos x="52" y="74"/>
                  </a:cxn>
                  <a:cxn ang="0">
                    <a:pos x="54" y="72"/>
                  </a:cxn>
                  <a:cxn ang="0">
                    <a:pos x="54" y="68"/>
                  </a:cxn>
                  <a:cxn ang="0">
                    <a:pos x="54" y="68"/>
                  </a:cxn>
                  <a:cxn ang="0">
                    <a:pos x="74" y="74"/>
                  </a:cxn>
                  <a:cxn ang="0">
                    <a:pos x="90" y="80"/>
                  </a:cxn>
                  <a:cxn ang="0">
                    <a:pos x="104" y="82"/>
                  </a:cxn>
                  <a:cxn ang="0">
                    <a:pos x="104" y="82"/>
                  </a:cxn>
                  <a:cxn ang="0">
                    <a:pos x="132" y="82"/>
                  </a:cxn>
                  <a:cxn ang="0">
                    <a:pos x="154" y="82"/>
                  </a:cxn>
                  <a:cxn ang="0">
                    <a:pos x="172" y="78"/>
                  </a:cxn>
                  <a:cxn ang="0">
                    <a:pos x="172" y="78"/>
                  </a:cxn>
                  <a:cxn ang="0">
                    <a:pos x="172" y="76"/>
                  </a:cxn>
                  <a:cxn ang="0">
                    <a:pos x="170" y="70"/>
                  </a:cxn>
                  <a:cxn ang="0">
                    <a:pos x="166" y="66"/>
                  </a:cxn>
                  <a:cxn ang="0">
                    <a:pos x="160" y="62"/>
                  </a:cxn>
                  <a:cxn ang="0">
                    <a:pos x="152" y="58"/>
                  </a:cxn>
                  <a:cxn ang="0">
                    <a:pos x="142" y="56"/>
                  </a:cxn>
                  <a:cxn ang="0">
                    <a:pos x="142" y="56"/>
                  </a:cxn>
                  <a:cxn ang="0">
                    <a:pos x="114" y="50"/>
                  </a:cxn>
                  <a:cxn ang="0">
                    <a:pos x="110" y="48"/>
                  </a:cxn>
                  <a:cxn ang="0">
                    <a:pos x="104" y="44"/>
                  </a:cxn>
                  <a:cxn ang="0">
                    <a:pos x="104" y="44"/>
                  </a:cxn>
                  <a:cxn ang="0">
                    <a:pos x="90" y="30"/>
                  </a:cxn>
                  <a:cxn ang="0">
                    <a:pos x="90" y="30"/>
                  </a:cxn>
                  <a:cxn ang="0">
                    <a:pos x="84" y="14"/>
                  </a:cxn>
                  <a:cxn ang="0">
                    <a:pos x="84" y="14"/>
                  </a:cxn>
                  <a:cxn ang="0">
                    <a:pos x="64" y="14"/>
                  </a:cxn>
                  <a:cxn ang="0">
                    <a:pos x="44" y="12"/>
                  </a:cxn>
                  <a:cxn ang="0">
                    <a:pos x="26" y="8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72" h="82">
                    <a:moveTo>
                      <a:pt x="6" y="0"/>
                    </a:moveTo>
                    <a:lnTo>
                      <a:pt x="6" y="0"/>
                    </a:lnTo>
                    <a:lnTo>
                      <a:pt x="0" y="2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50"/>
                    </a:lnTo>
                    <a:lnTo>
                      <a:pt x="2" y="68"/>
                    </a:lnTo>
                    <a:lnTo>
                      <a:pt x="2" y="68"/>
                    </a:lnTo>
                    <a:lnTo>
                      <a:pt x="2" y="72"/>
                    </a:lnTo>
                    <a:lnTo>
                      <a:pt x="4" y="74"/>
                    </a:lnTo>
                    <a:lnTo>
                      <a:pt x="6" y="76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34" y="78"/>
                    </a:lnTo>
                    <a:lnTo>
                      <a:pt x="46" y="76"/>
                    </a:lnTo>
                    <a:lnTo>
                      <a:pt x="52" y="74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74" y="74"/>
                    </a:lnTo>
                    <a:lnTo>
                      <a:pt x="90" y="80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32" y="82"/>
                    </a:lnTo>
                    <a:lnTo>
                      <a:pt x="154" y="82"/>
                    </a:lnTo>
                    <a:lnTo>
                      <a:pt x="172" y="78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70" y="70"/>
                    </a:lnTo>
                    <a:lnTo>
                      <a:pt x="166" y="66"/>
                    </a:lnTo>
                    <a:lnTo>
                      <a:pt x="160" y="62"/>
                    </a:lnTo>
                    <a:lnTo>
                      <a:pt x="152" y="58"/>
                    </a:lnTo>
                    <a:lnTo>
                      <a:pt x="142" y="56"/>
                    </a:lnTo>
                    <a:lnTo>
                      <a:pt x="142" y="56"/>
                    </a:lnTo>
                    <a:lnTo>
                      <a:pt x="114" y="50"/>
                    </a:lnTo>
                    <a:lnTo>
                      <a:pt x="11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64" y="14"/>
                    </a:lnTo>
                    <a:lnTo>
                      <a:pt x="44" y="12"/>
                    </a:lnTo>
                    <a:lnTo>
                      <a:pt x="26" y="8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" name="Freeform 53"/>
              <p:cNvSpPr>
                <a:spLocks noChangeAspect="1"/>
              </p:cNvSpPr>
              <p:nvPr/>
            </p:nvSpPr>
            <p:spPr bwMode="auto">
              <a:xfrm>
                <a:off x="1445" y="1876"/>
                <a:ext cx="66" cy="66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16" y="40"/>
                  </a:cxn>
                  <a:cxn ang="0">
                    <a:pos x="30" y="56"/>
                  </a:cxn>
                  <a:cxn ang="0">
                    <a:pos x="40" y="66"/>
                  </a:cxn>
                  <a:cxn ang="0">
                    <a:pos x="40" y="66"/>
                  </a:cxn>
                  <a:cxn ang="0">
                    <a:pos x="44" y="66"/>
                  </a:cxn>
                  <a:cxn ang="0">
                    <a:pos x="50" y="64"/>
                  </a:cxn>
                  <a:cxn ang="0">
                    <a:pos x="58" y="56"/>
                  </a:cxn>
                  <a:cxn ang="0">
                    <a:pos x="66" y="42"/>
                  </a:cxn>
                  <a:cxn ang="0">
                    <a:pos x="66" y="42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8" y="0"/>
                  </a:cxn>
                  <a:cxn ang="0">
                    <a:pos x="8" y="0"/>
                  </a:cxn>
                </a:cxnLst>
                <a:rect l="0" t="0" r="r" b="b"/>
                <a:pathLst>
                  <a:path w="66" h="66">
                    <a:moveTo>
                      <a:pt x="8" y="0"/>
                    </a:moveTo>
                    <a:lnTo>
                      <a:pt x="8" y="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16" y="40"/>
                    </a:lnTo>
                    <a:lnTo>
                      <a:pt x="30" y="56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50" y="64"/>
                    </a:lnTo>
                    <a:lnTo>
                      <a:pt x="58" y="56"/>
                    </a:lnTo>
                    <a:lnTo>
                      <a:pt x="66" y="42"/>
                    </a:lnTo>
                    <a:lnTo>
                      <a:pt x="66" y="4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Freeform 54"/>
              <p:cNvSpPr>
                <a:spLocks noChangeAspect="1" noEditPoints="1"/>
              </p:cNvSpPr>
              <p:nvPr/>
            </p:nvSpPr>
            <p:spPr bwMode="auto">
              <a:xfrm>
                <a:off x="1351" y="1774"/>
                <a:ext cx="352" cy="1028"/>
              </a:xfrm>
              <a:custGeom>
                <a:avLst/>
                <a:gdLst/>
                <a:ahLst/>
                <a:cxnLst>
                  <a:cxn ang="0">
                    <a:pos x="296" y="118"/>
                  </a:cxn>
                  <a:cxn ang="0">
                    <a:pos x="276" y="76"/>
                  </a:cxn>
                  <a:cxn ang="0">
                    <a:pos x="256" y="68"/>
                  </a:cxn>
                  <a:cxn ang="0">
                    <a:pos x="232" y="68"/>
                  </a:cxn>
                  <a:cxn ang="0">
                    <a:pos x="214" y="72"/>
                  </a:cxn>
                  <a:cxn ang="0">
                    <a:pos x="210" y="98"/>
                  </a:cxn>
                  <a:cxn ang="0">
                    <a:pos x="244" y="126"/>
                  </a:cxn>
                  <a:cxn ang="0">
                    <a:pos x="264" y="154"/>
                  </a:cxn>
                  <a:cxn ang="0">
                    <a:pos x="244" y="184"/>
                  </a:cxn>
                  <a:cxn ang="0">
                    <a:pos x="210" y="156"/>
                  </a:cxn>
                  <a:cxn ang="0">
                    <a:pos x="170" y="148"/>
                  </a:cxn>
                  <a:cxn ang="0">
                    <a:pos x="182" y="144"/>
                  </a:cxn>
                  <a:cxn ang="0">
                    <a:pos x="190" y="130"/>
                  </a:cxn>
                  <a:cxn ang="0">
                    <a:pos x="190" y="124"/>
                  </a:cxn>
                  <a:cxn ang="0">
                    <a:pos x="194" y="114"/>
                  </a:cxn>
                  <a:cxn ang="0">
                    <a:pos x="206" y="94"/>
                  </a:cxn>
                  <a:cxn ang="0">
                    <a:pos x="210" y="78"/>
                  </a:cxn>
                  <a:cxn ang="0">
                    <a:pos x="214" y="48"/>
                  </a:cxn>
                  <a:cxn ang="0">
                    <a:pos x="208" y="20"/>
                  </a:cxn>
                  <a:cxn ang="0">
                    <a:pos x="138" y="2"/>
                  </a:cxn>
                  <a:cxn ang="0">
                    <a:pos x="106" y="68"/>
                  </a:cxn>
                  <a:cxn ang="0">
                    <a:pos x="156" y="144"/>
                  </a:cxn>
                  <a:cxn ang="0">
                    <a:pos x="94" y="120"/>
                  </a:cxn>
                  <a:cxn ang="0">
                    <a:pos x="34" y="166"/>
                  </a:cxn>
                  <a:cxn ang="0">
                    <a:pos x="14" y="212"/>
                  </a:cxn>
                  <a:cxn ang="0">
                    <a:pos x="2" y="286"/>
                  </a:cxn>
                  <a:cxn ang="0">
                    <a:pos x="6" y="384"/>
                  </a:cxn>
                  <a:cxn ang="0">
                    <a:pos x="46" y="462"/>
                  </a:cxn>
                  <a:cxn ang="0">
                    <a:pos x="66" y="528"/>
                  </a:cxn>
                  <a:cxn ang="0">
                    <a:pos x="88" y="550"/>
                  </a:cxn>
                  <a:cxn ang="0">
                    <a:pos x="82" y="620"/>
                  </a:cxn>
                  <a:cxn ang="0">
                    <a:pos x="70" y="768"/>
                  </a:cxn>
                  <a:cxn ang="0">
                    <a:pos x="78" y="934"/>
                  </a:cxn>
                  <a:cxn ang="0">
                    <a:pos x="76" y="998"/>
                  </a:cxn>
                  <a:cxn ang="0">
                    <a:pos x="136" y="1024"/>
                  </a:cxn>
                  <a:cxn ang="0">
                    <a:pos x="202" y="1022"/>
                  </a:cxn>
                  <a:cxn ang="0">
                    <a:pos x="158" y="968"/>
                  </a:cxn>
                  <a:cxn ang="0">
                    <a:pos x="144" y="938"/>
                  </a:cxn>
                  <a:cxn ang="0">
                    <a:pos x="146" y="886"/>
                  </a:cxn>
                  <a:cxn ang="0">
                    <a:pos x="148" y="766"/>
                  </a:cxn>
                  <a:cxn ang="0">
                    <a:pos x="174" y="668"/>
                  </a:cxn>
                  <a:cxn ang="0">
                    <a:pos x="204" y="692"/>
                  </a:cxn>
                  <a:cxn ang="0">
                    <a:pos x="198" y="762"/>
                  </a:cxn>
                  <a:cxn ang="0">
                    <a:pos x="176" y="894"/>
                  </a:cxn>
                  <a:cxn ang="0">
                    <a:pos x="234" y="934"/>
                  </a:cxn>
                  <a:cxn ang="0">
                    <a:pos x="270" y="876"/>
                  </a:cxn>
                  <a:cxn ang="0">
                    <a:pos x="288" y="728"/>
                  </a:cxn>
                  <a:cxn ang="0">
                    <a:pos x="292" y="660"/>
                  </a:cxn>
                  <a:cxn ang="0">
                    <a:pos x="272" y="500"/>
                  </a:cxn>
                  <a:cxn ang="0">
                    <a:pos x="240" y="350"/>
                  </a:cxn>
                  <a:cxn ang="0">
                    <a:pos x="232" y="270"/>
                  </a:cxn>
                  <a:cxn ang="0">
                    <a:pos x="334" y="264"/>
                  </a:cxn>
                  <a:cxn ang="0">
                    <a:pos x="322" y="138"/>
                  </a:cxn>
                  <a:cxn ang="0">
                    <a:pos x="222" y="96"/>
                  </a:cxn>
                  <a:cxn ang="0">
                    <a:pos x="218" y="82"/>
                  </a:cxn>
                  <a:cxn ang="0">
                    <a:pos x="228" y="92"/>
                  </a:cxn>
                  <a:cxn ang="0">
                    <a:pos x="236" y="98"/>
                  </a:cxn>
                  <a:cxn ang="0">
                    <a:pos x="84" y="390"/>
                  </a:cxn>
                  <a:cxn ang="0">
                    <a:pos x="76" y="386"/>
                  </a:cxn>
                  <a:cxn ang="0">
                    <a:pos x="72" y="366"/>
                  </a:cxn>
                  <a:cxn ang="0">
                    <a:pos x="76" y="346"/>
                  </a:cxn>
                  <a:cxn ang="0">
                    <a:pos x="86" y="362"/>
                  </a:cxn>
                </a:cxnLst>
                <a:rect l="0" t="0" r="r" b="b"/>
                <a:pathLst>
                  <a:path w="352" h="1028">
                    <a:moveTo>
                      <a:pt x="322" y="138"/>
                    </a:moveTo>
                    <a:lnTo>
                      <a:pt x="322" y="138"/>
                    </a:lnTo>
                    <a:lnTo>
                      <a:pt x="316" y="136"/>
                    </a:lnTo>
                    <a:lnTo>
                      <a:pt x="308" y="130"/>
                    </a:lnTo>
                    <a:lnTo>
                      <a:pt x="308" y="130"/>
                    </a:lnTo>
                    <a:lnTo>
                      <a:pt x="296" y="118"/>
                    </a:lnTo>
                    <a:lnTo>
                      <a:pt x="296" y="118"/>
                    </a:lnTo>
                    <a:lnTo>
                      <a:pt x="294" y="114"/>
                    </a:lnTo>
                    <a:lnTo>
                      <a:pt x="292" y="110"/>
                    </a:lnTo>
                    <a:lnTo>
                      <a:pt x="284" y="106"/>
                    </a:lnTo>
                    <a:lnTo>
                      <a:pt x="284" y="106"/>
                    </a:lnTo>
                    <a:lnTo>
                      <a:pt x="284" y="102"/>
                    </a:lnTo>
                    <a:lnTo>
                      <a:pt x="280" y="88"/>
                    </a:lnTo>
                    <a:lnTo>
                      <a:pt x="276" y="76"/>
                    </a:lnTo>
                    <a:lnTo>
                      <a:pt x="272" y="70"/>
                    </a:lnTo>
                    <a:lnTo>
                      <a:pt x="266" y="68"/>
                    </a:lnTo>
                    <a:lnTo>
                      <a:pt x="266" y="68"/>
                    </a:lnTo>
                    <a:lnTo>
                      <a:pt x="262" y="68"/>
                    </a:lnTo>
                    <a:lnTo>
                      <a:pt x="260" y="68"/>
                    </a:lnTo>
                    <a:lnTo>
                      <a:pt x="256" y="68"/>
                    </a:lnTo>
                    <a:lnTo>
                      <a:pt x="256" y="68"/>
                    </a:lnTo>
                    <a:lnTo>
                      <a:pt x="250" y="66"/>
                    </a:lnTo>
                    <a:lnTo>
                      <a:pt x="246" y="66"/>
                    </a:lnTo>
                    <a:lnTo>
                      <a:pt x="244" y="68"/>
                    </a:lnTo>
                    <a:lnTo>
                      <a:pt x="244" y="70"/>
                    </a:lnTo>
                    <a:lnTo>
                      <a:pt x="244" y="70"/>
                    </a:lnTo>
                    <a:lnTo>
                      <a:pt x="236" y="68"/>
                    </a:lnTo>
                    <a:lnTo>
                      <a:pt x="232" y="68"/>
                    </a:lnTo>
                    <a:lnTo>
                      <a:pt x="230" y="70"/>
                    </a:lnTo>
                    <a:lnTo>
                      <a:pt x="228" y="72"/>
                    </a:lnTo>
                    <a:lnTo>
                      <a:pt x="228" y="72"/>
                    </a:lnTo>
                    <a:lnTo>
                      <a:pt x="224" y="70"/>
                    </a:lnTo>
                    <a:lnTo>
                      <a:pt x="218" y="70"/>
                    </a:lnTo>
                    <a:lnTo>
                      <a:pt x="214" y="72"/>
                    </a:lnTo>
                    <a:lnTo>
                      <a:pt x="214" y="72"/>
                    </a:lnTo>
                    <a:lnTo>
                      <a:pt x="210" y="78"/>
                    </a:lnTo>
                    <a:lnTo>
                      <a:pt x="210" y="78"/>
                    </a:lnTo>
                    <a:lnTo>
                      <a:pt x="206" y="92"/>
                    </a:lnTo>
                    <a:lnTo>
                      <a:pt x="206" y="92"/>
                    </a:lnTo>
                    <a:lnTo>
                      <a:pt x="206" y="94"/>
                    </a:lnTo>
                    <a:lnTo>
                      <a:pt x="206" y="94"/>
                    </a:lnTo>
                    <a:lnTo>
                      <a:pt x="210" y="98"/>
                    </a:lnTo>
                    <a:lnTo>
                      <a:pt x="216" y="106"/>
                    </a:lnTo>
                    <a:lnTo>
                      <a:pt x="216" y="106"/>
                    </a:lnTo>
                    <a:lnTo>
                      <a:pt x="226" y="114"/>
                    </a:lnTo>
                    <a:lnTo>
                      <a:pt x="226" y="114"/>
                    </a:lnTo>
                    <a:lnTo>
                      <a:pt x="228" y="118"/>
                    </a:lnTo>
                    <a:lnTo>
                      <a:pt x="234" y="122"/>
                    </a:lnTo>
                    <a:lnTo>
                      <a:pt x="244" y="126"/>
                    </a:lnTo>
                    <a:lnTo>
                      <a:pt x="258" y="130"/>
                    </a:lnTo>
                    <a:lnTo>
                      <a:pt x="258" y="130"/>
                    </a:lnTo>
                    <a:lnTo>
                      <a:pt x="260" y="136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2"/>
                    </a:lnTo>
                    <a:lnTo>
                      <a:pt x="264" y="154"/>
                    </a:lnTo>
                    <a:lnTo>
                      <a:pt x="272" y="170"/>
                    </a:lnTo>
                    <a:lnTo>
                      <a:pt x="282" y="190"/>
                    </a:lnTo>
                    <a:lnTo>
                      <a:pt x="282" y="200"/>
                    </a:lnTo>
                    <a:lnTo>
                      <a:pt x="282" y="200"/>
                    </a:lnTo>
                    <a:lnTo>
                      <a:pt x="276" y="196"/>
                    </a:lnTo>
                    <a:lnTo>
                      <a:pt x="264" y="190"/>
                    </a:lnTo>
                    <a:lnTo>
                      <a:pt x="244" y="184"/>
                    </a:lnTo>
                    <a:lnTo>
                      <a:pt x="244" y="184"/>
                    </a:lnTo>
                    <a:lnTo>
                      <a:pt x="236" y="176"/>
                    </a:lnTo>
                    <a:lnTo>
                      <a:pt x="222" y="164"/>
                    </a:lnTo>
                    <a:lnTo>
                      <a:pt x="222" y="164"/>
                    </a:lnTo>
                    <a:lnTo>
                      <a:pt x="218" y="160"/>
                    </a:lnTo>
                    <a:lnTo>
                      <a:pt x="214" y="158"/>
                    </a:lnTo>
                    <a:lnTo>
                      <a:pt x="210" y="156"/>
                    </a:lnTo>
                    <a:lnTo>
                      <a:pt x="210" y="156"/>
                    </a:lnTo>
                    <a:lnTo>
                      <a:pt x="204" y="154"/>
                    </a:lnTo>
                    <a:lnTo>
                      <a:pt x="190" y="154"/>
                    </a:lnTo>
                    <a:lnTo>
                      <a:pt x="190" y="154"/>
                    </a:lnTo>
                    <a:lnTo>
                      <a:pt x="182" y="152"/>
                    </a:lnTo>
                    <a:lnTo>
                      <a:pt x="176" y="150"/>
                    </a:lnTo>
                    <a:lnTo>
                      <a:pt x="170" y="148"/>
                    </a:lnTo>
                    <a:lnTo>
                      <a:pt x="168" y="146"/>
                    </a:lnTo>
                    <a:lnTo>
                      <a:pt x="166" y="144"/>
                    </a:lnTo>
                    <a:lnTo>
                      <a:pt x="166" y="144"/>
                    </a:lnTo>
                    <a:lnTo>
                      <a:pt x="170" y="146"/>
                    </a:lnTo>
                    <a:lnTo>
                      <a:pt x="178" y="146"/>
                    </a:lnTo>
                    <a:lnTo>
                      <a:pt x="178" y="146"/>
                    </a:lnTo>
                    <a:lnTo>
                      <a:pt x="182" y="144"/>
                    </a:lnTo>
                    <a:lnTo>
                      <a:pt x="184" y="140"/>
                    </a:lnTo>
                    <a:lnTo>
                      <a:pt x="186" y="136"/>
                    </a:lnTo>
                    <a:lnTo>
                      <a:pt x="186" y="136"/>
                    </a:lnTo>
                    <a:lnTo>
                      <a:pt x="186" y="132"/>
                    </a:lnTo>
                    <a:lnTo>
                      <a:pt x="188" y="130"/>
                    </a:lnTo>
                    <a:lnTo>
                      <a:pt x="188" y="130"/>
                    </a:lnTo>
                    <a:lnTo>
                      <a:pt x="190" y="130"/>
                    </a:lnTo>
                    <a:lnTo>
                      <a:pt x="190" y="128"/>
                    </a:lnTo>
                    <a:lnTo>
                      <a:pt x="192" y="126"/>
                    </a:lnTo>
                    <a:lnTo>
                      <a:pt x="192" y="126"/>
                    </a:lnTo>
                    <a:lnTo>
                      <a:pt x="190" y="126"/>
                    </a:lnTo>
                    <a:lnTo>
                      <a:pt x="190" y="124"/>
                    </a:lnTo>
                    <a:lnTo>
                      <a:pt x="190" y="124"/>
                    </a:lnTo>
                    <a:lnTo>
                      <a:pt x="190" y="124"/>
                    </a:lnTo>
                    <a:lnTo>
                      <a:pt x="192" y="124"/>
                    </a:lnTo>
                    <a:lnTo>
                      <a:pt x="194" y="122"/>
                    </a:lnTo>
                    <a:lnTo>
                      <a:pt x="194" y="120"/>
                    </a:lnTo>
                    <a:lnTo>
                      <a:pt x="194" y="120"/>
                    </a:lnTo>
                    <a:lnTo>
                      <a:pt x="194" y="116"/>
                    </a:lnTo>
                    <a:lnTo>
                      <a:pt x="194" y="114"/>
                    </a:lnTo>
                    <a:lnTo>
                      <a:pt x="194" y="114"/>
                    </a:lnTo>
                    <a:lnTo>
                      <a:pt x="194" y="114"/>
                    </a:lnTo>
                    <a:lnTo>
                      <a:pt x="202" y="114"/>
                    </a:lnTo>
                    <a:lnTo>
                      <a:pt x="206" y="114"/>
                    </a:lnTo>
                    <a:lnTo>
                      <a:pt x="206" y="114"/>
                    </a:lnTo>
                    <a:lnTo>
                      <a:pt x="206" y="104"/>
                    </a:lnTo>
                    <a:lnTo>
                      <a:pt x="206" y="94"/>
                    </a:lnTo>
                    <a:lnTo>
                      <a:pt x="206" y="94"/>
                    </a:lnTo>
                    <a:lnTo>
                      <a:pt x="206" y="92"/>
                    </a:lnTo>
                    <a:lnTo>
                      <a:pt x="206" y="9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2"/>
                    </a:lnTo>
                    <a:lnTo>
                      <a:pt x="210" y="78"/>
                    </a:lnTo>
                    <a:lnTo>
                      <a:pt x="210" y="78"/>
                    </a:lnTo>
                    <a:lnTo>
                      <a:pt x="210" y="76"/>
                    </a:lnTo>
                    <a:lnTo>
                      <a:pt x="210" y="76"/>
                    </a:lnTo>
                    <a:lnTo>
                      <a:pt x="212" y="68"/>
                    </a:lnTo>
                    <a:lnTo>
                      <a:pt x="214" y="60"/>
                    </a:lnTo>
                    <a:lnTo>
                      <a:pt x="212" y="50"/>
                    </a:lnTo>
                    <a:lnTo>
                      <a:pt x="212" y="50"/>
                    </a:lnTo>
                    <a:lnTo>
                      <a:pt x="214" y="48"/>
                    </a:lnTo>
                    <a:lnTo>
                      <a:pt x="216" y="46"/>
                    </a:lnTo>
                    <a:lnTo>
                      <a:pt x="220" y="42"/>
                    </a:lnTo>
                    <a:lnTo>
                      <a:pt x="220" y="38"/>
                    </a:lnTo>
                    <a:lnTo>
                      <a:pt x="212" y="28"/>
                    </a:lnTo>
                    <a:lnTo>
                      <a:pt x="212" y="28"/>
                    </a:lnTo>
                    <a:lnTo>
                      <a:pt x="212" y="24"/>
                    </a:lnTo>
                    <a:lnTo>
                      <a:pt x="208" y="20"/>
                    </a:lnTo>
                    <a:lnTo>
                      <a:pt x="202" y="16"/>
                    </a:lnTo>
                    <a:lnTo>
                      <a:pt x="194" y="10"/>
                    </a:lnTo>
                    <a:lnTo>
                      <a:pt x="182" y="6"/>
                    </a:lnTo>
                    <a:lnTo>
                      <a:pt x="166" y="2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38" y="2"/>
                    </a:lnTo>
                    <a:lnTo>
                      <a:pt x="130" y="4"/>
                    </a:lnTo>
                    <a:lnTo>
                      <a:pt x="122" y="10"/>
                    </a:lnTo>
                    <a:lnTo>
                      <a:pt x="114" y="18"/>
                    </a:lnTo>
                    <a:lnTo>
                      <a:pt x="108" y="30"/>
                    </a:lnTo>
                    <a:lnTo>
                      <a:pt x="106" y="46"/>
                    </a:lnTo>
                    <a:lnTo>
                      <a:pt x="106" y="68"/>
                    </a:lnTo>
                    <a:lnTo>
                      <a:pt x="106" y="68"/>
                    </a:lnTo>
                    <a:lnTo>
                      <a:pt x="108" y="70"/>
                    </a:lnTo>
                    <a:lnTo>
                      <a:pt x="110" y="80"/>
                    </a:lnTo>
                    <a:lnTo>
                      <a:pt x="108" y="92"/>
                    </a:lnTo>
                    <a:lnTo>
                      <a:pt x="106" y="98"/>
                    </a:lnTo>
                    <a:lnTo>
                      <a:pt x="104" y="104"/>
                    </a:lnTo>
                    <a:lnTo>
                      <a:pt x="156" y="144"/>
                    </a:lnTo>
                    <a:lnTo>
                      <a:pt x="156" y="144"/>
                    </a:lnTo>
                    <a:lnTo>
                      <a:pt x="144" y="156"/>
                    </a:lnTo>
                    <a:lnTo>
                      <a:pt x="134" y="166"/>
                    </a:lnTo>
                    <a:lnTo>
                      <a:pt x="134" y="166"/>
                    </a:lnTo>
                    <a:lnTo>
                      <a:pt x="114" y="14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80" y="142"/>
                    </a:lnTo>
                    <a:lnTo>
                      <a:pt x="80" y="142"/>
                    </a:lnTo>
                    <a:lnTo>
                      <a:pt x="64" y="154"/>
                    </a:lnTo>
                    <a:lnTo>
                      <a:pt x="50" y="162"/>
                    </a:lnTo>
                    <a:lnTo>
                      <a:pt x="42" y="166"/>
                    </a:lnTo>
                    <a:lnTo>
                      <a:pt x="34" y="166"/>
                    </a:lnTo>
                    <a:lnTo>
                      <a:pt x="34" y="166"/>
                    </a:lnTo>
                    <a:lnTo>
                      <a:pt x="30" y="168"/>
                    </a:lnTo>
                    <a:lnTo>
                      <a:pt x="22" y="174"/>
                    </a:lnTo>
                    <a:lnTo>
                      <a:pt x="18" y="180"/>
                    </a:lnTo>
                    <a:lnTo>
                      <a:pt x="16" y="188"/>
                    </a:lnTo>
                    <a:lnTo>
                      <a:pt x="14" y="198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28"/>
                    </a:lnTo>
                    <a:lnTo>
                      <a:pt x="10" y="246"/>
                    </a:lnTo>
                    <a:lnTo>
                      <a:pt x="4" y="268"/>
                    </a:lnTo>
                    <a:lnTo>
                      <a:pt x="4" y="268"/>
                    </a:lnTo>
                    <a:lnTo>
                      <a:pt x="4" y="270"/>
                    </a:lnTo>
                    <a:lnTo>
                      <a:pt x="2" y="286"/>
                    </a:lnTo>
                    <a:lnTo>
                      <a:pt x="2" y="286"/>
                    </a:lnTo>
                    <a:lnTo>
                      <a:pt x="2" y="286"/>
                    </a:lnTo>
                    <a:lnTo>
                      <a:pt x="2" y="286"/>
                    </a:lnTo>
                    <a:lnTo>
                      <a:pt x="0" y="330"/>
                    </a:lnTo>
                    <a:lnTo>
                      <a:pt x="0" y="352"/>
                    </a:lnTo>
                    <a:lnTo>
                      <a:pt x="2" y="372"/>
                    </a:lnTo>
                    <a:lnTo>
                      <a:pt x="2" y="372"/>
                    </a:lnTo>
                    <a:lnTo>
                      <a:pt x="6" y="384"/>
                    </a:lnTo>
                    <a:lnTo>
                      <a:pt x="10" y="396"/>
                    </a:lnTo>
                    <a:lnTo>
                      <a:pt x="22" y="418"/>
                    </a:lnTo>
                    <a:lnTo>
                      <a:pt x="34" y="440"/>
                    </a:lnTo>
                    <a:lnTo>
                      <a:pt x="44" y="462"/>
                    </a:lnTo>
                    <a:lnTo>
                      <a:pt x="44" y="462"/>
                    </a:lnTo>
                    <a:lnTo>
                      <a:pt x="46" y="462"/>
                    </a:lnTo>
                    <a:lnTo>
                      <a:pt x="46" y="462"/>
                    </a:lnTo>
                    <a:lnTo>
                      <a:pt x="50" y="474"/>
                    </a:lnTo>
                    <a:lnTo>
                      <a:pt x="50" y="474"/>
                    </a:lnTo>
                    <a:lnTo>
                      <a:pt x="52" y="482"/>
                    </a:lnTo>
                    <a:lnTo>
                      <a:pt x="56" y="492"/>
                    </a:lnTo>
                    <a:lnTo>
                      <a:pt x="64" y="506"/>
                    </a:lnTo>
                    <a:lnTo>
                      <a:pt x="64" y="506"/>
                    </a:lnTo>
                    <a:lnTo>
                      <a:pt x="66" y="528"/>
                    </a:lnTo>
                    <a:lnTo>
                      <a:pt x="66" y="542"/>
                    </a:lnTo>
                    <a:lnTo>
                      <a:pt x="66" y="550"/>
                    </a:lnTo>
                    <a:lnTo>
                      <a:pt x="66" y="550"/>
                    </a:lnTo>
                    <a:lnTo>
                      <a:pt x="76" y="550"/>
                    </a:lnTo>
                    <a:lnTo>
                      <a:pt x="84" y="550"/>
                    </a:lnTo>
                    <a:lnTo>
                      <a:pt x="88" y="550"/>
                    </a:lnTo>
                    <a:lnTo>
                      <a:pt x="88" y="550"/>
                    </a:lnTo>
                    <a:lnTo>
                      <a:pt x="86" y="554"/>
                    </a:lnTo>
                    <a:lnTo>
                      <a:pt x="82" y="566"/>
                    </a:lnTo>
                    <a:lnTo>
                      <a:pt x="78" y="582"/>
                    </a:lnTo>
                    <a:lnTo>
                      <a:pt x="78" y="590"/>
                    </a:lnTo>
                    <a:lnTo>
                      <a:pt x="80" y="600"/>
                    </a:lnTo>
                    <a:lnTo>
                      <a:pt x="80" y="600"/>
                    </a:lnTo>
                    <a:lnTo>
                      <a:pt x="82" y="620"/>
                    </a:lnTo>
                    <a:lnTo>
                      <a:pt x="84" y="648"/>
                    </a:lnTo>
                    <a:lnTo>
                      <a:pt x="84" y="688"/>
                    </a:lnTo>
                    <a:lnTo>
                      <a:pt x="84" y="688"/>
                    </a:lnTo>
                    <a:lnTo>
                      <a:pt x="82" y="708"/>
                    </a:lnTo>
                    <a:lnTo>
                      <a:pt x="78" y="726"/>
                    </a:lnTo>
                    <a:lnTo>
                      <a:pt x="72" y="754"/>
                    </a:lnTo>
                    <a:lnTo>
                      <a:pt x="70" y="768"/>
                    </a:lnTo>
                    <a:lnTo>
                      <a:pt x="68" y="784"/>
                    </a:lnTo>
                    <a:lnTo>
                      <a:pt x="68" y="806"/>
                    </a:lnTo>
                    <a:lnTo>
                      <a:pt x="68" y="832"/>
                    </a:lnTo>
                    <a:lnTo>
                      <a:pt x="68" y="832"/>
                    </a:lnTo>
                    <a:lnTo>
                      <a:pt x="72" y="880"/>
                    </a:lnTo>
                    <a:lnTo>
                      <a:pt x="76" y="912"/>
                    </a:lnTo>
                    <a:lnTo>
                      <a:pt x="78" y="934"/>
                    </a:lnTo>
                    <a:lnTo>
                      <a:pt x="78" y="950"/>
                    </a:lnTo>
                    <a:lnTo>
                      <a:pt x="78" y="950"/>
                    </a:lnTo>
                    <a:lnTo>
                      <a:pt x="76" y="962"/>
                    </a:lnTo>
                    <a:lnTo>
                      <a:pt x="76" y="970"/>
                    </a:lnTo>
                    <a:lnTo>
                      <a:pt x="76" y="976"/>
                    </a:lnTo>
                    <a:lnTo>
                      <a:pt x="76" y="976"/>
                    </a:lnTo>
                    <a:lnTo>
                      <a:pt x="76" y="998"/>
                    </a:lnTo>
                    <a:lnTo>
                      <a:pt x="98" y="1006"/>
                    </a:lnTo>
                    <a:lnTo>
                      <a:pt x="110" y="1006"/>
                    </a:lnTo>
                    <a:lnTo>
                      <a:pt x="110" y="1006"/>
                    </a:lnTo>
                    <a:lnTo>
                      <a:pt x="112" y="1010"/>
                    </a:lnTo>
                    <a:lnTo>
                      <a:pt x="120" y="1016"/>
                    </a:lnTo>
                    <a:lnTo>
                      <a:pt x="128" y="1020"/>
                    </a:lnTo>
                    <a:lnTo>
                      <a:pt x="136" y="1024"/>
                    </a:lnTo>
                    <a:lnTo>
                      <a:pt x="146" y="1026"/>
                    </a:lnTo>
                    <a:lnTo>
                      <a:pt x="160" y="1028"/>
                    </a:lnTo>
                    <a:lnTo>
                      <a:pt x="160" y="1028"/>
                    </a:lnTo>
                    <a:lnTo>
                      <a:pt x="186" y="1026"/>
                    </a:lnTo>
                    <a:lnTo>
                      <a:pt x="198" y="1024"/>
                    </a:lnTo>
                    <a:lnTo>
                      <a:pt x="202" y="1024"/>
                    </a:lnTo>
                    <a:lnTo>
                      <a:pt x="202" y="1022"/>
                    </a:lnTo>
                    <a:lnTo>
                      <a:pt x="202" y="1022"/>
                    </a:lnTo>
                    <a:lnTo>
                      <a:pt x="202" y="1018"/>
                    </a:lnTo>
                    <a:lnTo>
                      <a:pt x="200" y="1012"/>
                    </a:lnTo>
                    <a:lnTo>
                      <a:pt x="196" y="1006"/>
                    </a:lnTo>
                    <a:lnTo>
                      <a:pt x="196" y="1006"/>
                    </a:lnTo>
                    <a:lnTo>
                      <a:pt x="172" y="984"/>
                    </a:lnTo>
                    <a:lnTo>
                      <a:pt x="158" y="968"/>
                    </a:lnTo>
                    <a:lnTo>
                      <a:pt x="152" y="962"/>
                    </a:lnTo>
                    <a:lnTo>
                      <a:pt x="148" y="956"/>
                    </a:lnTo>
                    <a:lnTo>
                      <a:pt x="148" y="956"/>
                    </a:lnTo>
                    <a:lnTo>
                      <a:pt x="148" y="950"/>
                    </a:lnTo>
                    <a:lnTo>
                      <a:pt x="146" y="946"/>
                    </a:lnTo>
                    <a:lnTo>
                      <a:pt x="146" y="946"/>
                    </a:lnTo>
                    <a:lnTo>
                      <a:pt x="144" y="938"/>
                    </a:lnTo>
                    <a:lnTo>
                      <a:pt x="142" y="934"/>
                    </a:lnTo>
                    <a:lnTo>
                      <a:pt x="142" y="934"/>
                    </a:lnTo>
                    <a:lnTo>
                      <a:pt x="142" y="924"/>
                    </a:lnTo>
                    <a:lnTo>
                      <a:pt x="142" y="924"/>
                    </a:lnTo>
                    <a:lnTo>
                      <a:pt x="144" y="902"/>
                    </a:lnTo>
                    <a:lnTo>
                      <a:pt x="146" y="886"/>
                    </a:lnTo>
                    <a:lnTo>
                      <a:pt x="146" y="886"/>
                    </a:lnTo>
                    <a:lnTo>
                      <a:pt x="144" y="878"/>
                    </a:lnTo>
                    <a:lnTo>
                      <a:pt x="140" y="868"/>
                    </a:lnTo>
                    <a:lnTo>
                      <a:pt x="140" y="868"/>
                    </a:lnTo>
                    <a:lnTo>
                      <a:pt x="144" y="818"/>
                    </a:lnTo>
                    <a:lnTo>
                      <a:pt x="146" y="784"/>
                    </a:lnTo>
                    <a:lnTo>
                      <a:pt x="148" y="766"/>
                    </a:lnTo>
                    <a:lnTo>
                      <a:pt x="148" y="766"/>
                    </a:lnTo>
                    <a:lnTo>
                      <a:pt x="152" y="754"/>
                    </a:lnTo>
                    <a:lnTo>
                      <a:pt x="154" y="736"/>
                    </a:lnTo>
                    <a:lnTo>
                      <a:pt x="158" y="712"/>
                    </a:lnTo>
                    <a:lnTo>
                      <a:pt x="158" y="712"/>
                    </a:lnTo>
                    <a:lnTo>
                      <a:pt x="160" y="706"/>
                    </a:lnTo>
                    <a:lnTo>
                      <a:pt x="166" y="692"/>
                    </a:lnTo>
                    <a:lnTo>
                      <a:pt x="174" y="668"/>
                    </a:lnTo>
                    <a:lnTo>
                      <a:pt x="180" y="632"/>
                    </a:lnTo>
                    <a:lnTo>
                      <a:pt x="180" y="632"/>
                    </a:lnTo>
                    <a:lnTo>
                      <a:pt x="182" y="630"/>
                    </a:lnTo>
                    <a:lnTo>
                      <a:pt x="184" y="628"/>
                    </a:lnTo>
                    <a:lnTo>
                      <a:pt x="184" y="632"/>
                    </a:lnTo>
                    <a:lnTo>
                      <a:pt x="184" y="632"/>
                    </a:lnTo>
                    <a:lnTo>
                      <a:pt x="204" y="692"/>
                    </a:lnTo>
                    <a:lnTo>
                      <a:pt x="204" y="692"/>
                    </a:lnTo>
                    <a:lnTo>
                      <a:pt x="208" y="702"/>
                    </a:lnTo>
                    <a:lnTo>
                      <a:pt x="208" y="712"/>
                    </a:lnTo>
                    <a:lnTo>
                      <a:pt x="206" y="724"/>
                    </a:lnTo>
                    <a:lnTo>
                      <a:pt x="206" y="724"/>
                    </a:lnTo>
                    <a:lnTo>
                      <a:pt x="200" y="744"/>
                    </a:lnTo>
                    <a:lnTo>
                      <a:pt x="198" y="762"/>
                    </a:lnTo>
                    <a:lnTo>
                      <a:pt x="196" y="784"/>
                    </a:lnTo>
                    <a:lnTo>
                      <a:pt x="196" y="784"/>
                    </a:lnTo>
                    <a:lnTo>
                      <a:pt x="190" y="836"/>
                    </a:lnTo>
                    <a:lnTo>
                      <a:pt x="184" y="870"/>
                    </a:lnTo>
                    <a:lnTo>
                      <a:pt x="182" y="888"/>
                    </a:lnTo>
                    <a:lnTo>
                      <a:pt x="182" y="888"/>
                    </a:lnTo>
                    <a:lnTo>
                      <a:pt x="176" y="894"/>
                    </a:lnTo>
                    <a:lnTo>
                      <a:pt x="174" y="900"/>
                    </a:lnTo>
                    <a:lnTo>
                      <a:pt x="174" y="900"/>
                    </a:lnTo>
                    <a:lnTo>
                      <a:pt x="172" y="916"/>
                    </a:lnTo>
                    <a:lnTo>
                      <a:pt x="172" y="916"/>
                    </a:lnTo>
                    <a:lnTo>
                      <a:pt x="190" y="924"/>
                    </a:lnTo>
                    <a:lnTo>
                      <a:pt x="212" y="930"/>
                    </a:lnTo>
                    <a:lnTo>
                      <a:pt x="234" y="934"/>
                    </a:lnTo>
                    <a:lnTo>
                      <a:pt x="254" y="934"/>
                    </a:lnTo>
                    <a:lnTo>
                      <a:pt x="254" y="934"/>
                    </a:lnTo>
                    <a:lnTo>
                      <a:pt x="252" y="920"/>
                    </a:lnTo>
                    <a:lnTo>
                      <a:pt x="252" y="920"/>
                    </a:lnTo>
                    <a:lnTo>
                      <a:pt x="258" y="908"/>
                    </a:lnTo>
                    <a:lnTo>
                      <a:pt x="262" y="894"/>
                    </a:lnTo>
                    <a:lnTo>
                      <a:pt x="270" y="876"/>
                    </a:lnTo>
                    <a:lnTo>
                      <a:pt x="276" y="852"/>
                    </a:lnTo>
                    <a:lnTo>
                      <a:pt x="282" y="822"/>
                    </a:lnTo>
                    <a:lnTo>
                      <a:pt x="286" y="788"/>
                    </a:lnTo>
                    <a:lnTo>
                      <a:pt x="288" y="746"/>
                    </a:lnTo>
                    <a:lnTo>
                      <a:pt x="288" y="746"/>
                    </a:lnTo>
                    <a:lnTo>
                      <a:pt x="288" y="736"/>
                    </a:lnTo>
                    <a:lnTo>
                      <a:pt x="288" y="728"/>
                    </a:lnTo>
                    <a:lnTo>
                      <a:pt x="288" y="724"/>
                    </a:lnTo>
                    <a:lnTo>
                      <a:pt x="288" y="724"/>
                    </a:lnTo>
                    <a:lnTo>
                      <a:pt x="290" y="720"/>
                    </a:lnTo>
                    <a:lnTo>
                      <a:pt x="292" y="708"/>
                    </a:lnTo>
                    <a:lnTo>
                      <a:pt x="292" y="688"/>
                    </a:lnTo>
                    <a:lnTo>
                      <a:pt x="292" y="660"/>
                    </a:lnTo>
                    <a:lnTo>
                      <a:pt x="292" y="660"/>
                    </a:lnTo>
                    <a:lnTo>
                      <a:pt x="286" y="618"/>
                    </a:lnTo>
                    <a:lnTo>
                      <a:pt x="276" y="570"/>
                    </a:lnTo>
                    <a:lnTo>
                      <a:pt x="264" y="516"/>
                    </a:lnTo>
                    <a:lnTo>
                      <a:pt x="264" y="516"/>
                    </a:lnTo>
                    <a:lnTo>
                      <a:pt x="268" y="512"/>
                    </a:lnTo>
                    <a:lnTo>
                      <a:pt x="270" y="508"/>
                    </a:lnTo>
                    <a:lnTo>
                      <a:pt x="272" y="500"/>
                    </a:lnTo>
                    <a:lnTo>
                      <a:pt x="272" y="500"/>
                    </a:lnTo>
                    <a:lnTo>
                      <a:pt x="268" y="480"/>
                    </a:lnTo>
                    <a:lnTo>
                      <a:pt x="260" y="446"/>
                    </a:lnTo>
                    <a:lnTo>
                      <a:pt x="250" y="396"/>
                    </a:lnTo>
                    <a:lnTo>
                      <a:pt x="250" y="396"/>
                    </a:lnTo>
                    <a:lnTo>
                      <a:pt x="246" y="372"/>
                    </a:lnTo>
                    <a:lnTo>
                      <a:pt x="240" y="350"/>
                    </a:lnTo>
                    <a:lnTo>
                      <a:pt x="240" y="350"/>
                    </a:lnTo>
                    <a:lnTo>
                      <a:pt x="236" y="334"/>
                    </a:lnTo>
                    <a:lnTo>
                      <a:pt x="232" y="318"/>
                    </a:lnTo>
                    <a:lnTo>
                      <a:pt x="232" y="300"/>
                    </a:lnTo>
                    <a:lnTo>
                      <a:pt x="232" y="300"/>
                    </a:lnTo>
                    <a:lnTo>
                      <a:pt x="234" y="284"/>
                    </a:lnTo>
                    <a:lnTo>
                      <a:pt x="232" y="270"/>
                    </a:lnTo>
                    <a:lnTo>
                      <a:pt x="232" y="258"/>
                    </a:lnTo>
                    <a:lnTo>
                      <a:pt x="232" y="258"/>
                    </a:lnTo>
                    <a:lnTo>
                      <a:pt x="248" y="262"/>
                    </a:lnTo>
                    <a:lnTo>
                      <a:pt x="284" y="266"/>
                    </a:lnTo>
                    <a:lnTo>
                      <a:pt x="306" y="268"/>
                    </a:lnTo>
                    <a:lnTo>
                      <a:pt x="326" y="266"/>
                    </a:lnTo>
                    <a:lnTo>
                      <a:pt x="334" y="264"/>
                    </a:lnTo>
                    <a:lnTo>
                      <a:pt x="342" y="262"/>
                    </a:lnTo>
                    <a:lnTo>
                      <a:pt x="348" y="258"/>
                    </a:lnTo>
                    <a:lnTo>
                      <a:pt x="352" y="252"/>
                    </a:lnTo>
                    <a:lnTo>
                      <a:pt x="352" y="252"/>
                    </a:lnTo>
                    <a:lnTo>
                      <a:pt x="346" y="226"/>
                    </a:lnTo>
                    <a:lnTo>
                      <a:pt x="338" y="190"/>
                    </a:lnTo>
                    <a:lnTo>
                      <a:pt x="322" y="138"/>
                    </a:lnTo>
                    <a:lnTo>
                      <a:pt x="322" y="138"/>
                    </a:lnTo>
                    <a:close/>
                    <a:moveTo>
                      <a:pt x="234" y="102"/>
                    </a:moveTo>
                    <a:lnTo>
                      <a:pt x="234" y="102"/>
                    </a:lnTo>
                    <a:lnTo>
                      <a:pt x="232" y="102"/>
                    </a:lnTo>
                    <a:lnTo>
                      <a:pt x="226" y="100"/>
                    </a:lnTo>
                    <a:lnTo>
                      <a:pt x="226" y="100"/>
                    </a:lnTo>
                    <a:lnTo>
                      <a:pt x="222" y="96"/>
                    </a:lnTo>
                    <a:lnTo>
                      <a:pt x="218" y="90"/>
                    </a:lnTo>
                    <a:lnTo>
                      <a:pt x="218" y="90"/>
                    </a:lnTo>
                    <a:lnTo>
                      <a:pt x="212" y="88"/>
                    </a:lnTo>
                    <a:lnTo>
                      <a:pt x="212" y="88"/>
                    </a:lnTo>
                    <a:lnTo>
                      <a:pt x="216" y="84"/>
                    </a:lnTo>
                    <a:lnTo>
                      <a:pt x="218" y="82"/>
                    </a:lnTo>
                    <a:lnTo>
                      <a:pt x="218" y="82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8" y="84"/>
                    </a:lnTo>
                    <a:lnTo>
                      <a:pt x="228" y="86"/>
                    </a:lnTo>
                    <a:lnTo>
                      <a:pt x="228" y="90"/>
                    </a:lnTo>
                    <a:lnTo>
                      <a:pt x="228" y="90"/>
                    </a:lnTo>
                    <a:lnTo>
                      <a:pt x="228" y="92"/>
                    </a:lnTo>
                    <a:lnTo>
                      <a:pt x="230" y="94"/>
                    </a:lnTo>
                    <a:lnTo>
                      <a:pt x="232" y="96"/>
                    </a:lnTo>
                    <a:lnTo>
                      <a:pt x="232" y="96"/>
                    </a:lnTo>
                    <a:lnTo>
                      <a:pt x="234" y="96"/>
                    </a:lnTo>
                    <a:lnTo>
                      <a:pt x="234" y="96"/>
                    </a:lnTo>
                    <a:lnTo>
                      <a:pt x="236" y="96"/>
                    </a:lnTo>
                    <a:lnTo>
                      <a:pt x="236" y="98"/>
                    </a:lnTo>
                    <a:lnTo>
                      <a:pt x="234" y="102"/>
                    </a:lnTo>
                    <a:lnTo>
                      <a:pt x="234" y="102"/>
                    </a:lnTo>
                    <a:close/>
                    <a:moveTo>
                      <a:pt x="86" y="362"/>
                    </a:moveTo>
                    <a:lnTo>
                      <a:pt x="86" y="362"/>
                    </a:lnTo>
                    <a:lnTo>
                      <a:pt x="86" y="374"/>
                    </a:lnTo>
                    <a:lnTo>
                      <a:pt x="84" y="390"/>
                    </a:lnTo>
                    <a:lnTo>
                      <a:pt x="84" y="390"/>
                    </a:lnTo>
                    <a:lnTo>
                      <a:pt x="82" y="398"/>
                    </a:lnTo>
                    <a:lnTo>
                      <a:pt x="80" y="398"/>
                    </a:lnTo>
                    <a:lnTo>
                      <a:pt x="78" y="396"/>
                    </a:lnTo>
                    <a:lnTo>
                      <a:pt x="78" y="396"/>
                    </a:lnTo>
                    <a:lnTo>
                      <a:pt x="78" y="392"/>
                    </a:lnTo>
                    <a:lnTo>
                      <a:pt x="76" y="386"/>
                    </a:lnTo>
                    <a:lnTo>
                      <a:pt x="76" y="386"/>
                    </a:lnTo>
                    <a:lnTo>
                      <a:pt x="76" y="386"/>
                    </a:lnTo>
                    <a:lnTo>
                      <a:pt x="76" y="386"/>
                    </a:lnTo>
                    <a:lnTo>
                      <a:pt x="74" y="382"/>
                    </a:lnTo>
                    <a:lnTo>
                      <a:pt x="74" y="382"/>
                    </a:lnTo>
                    <a:lnTo>
                      <a:pt x="70" y="376"/>
                    </a:lnTo>
                    <a:lnTo>
                      <a:pt x="70" y="370"/>
                    </a:lnTo>
                    <a:lnTo>
                      <a:pt x="72" y="366"/>
                    </a:lnTo>
                    <a:lnTo>
                      <a:pt x="74" y="360"/>
                    </a:lnTo>
                    <a:lnTo>
                      <a:pt x="74" y="360"/>
                    </a:lnTo>
                    <a:lnTo>
                      <a:pt x="76" y="358"/>
                    </a:lnTo>
                    <a:lnTo>
                      <a:pt x="76" y="352"/>
                    </a:lnTo>
                    <a:lnTo>
                      <a:pt x="76" y="352"/>
                    </a:lnTo>
                    <a:lnTo>
                      <a:pt x="76" y="346"/>
                    </a:lnTo>
                    <a:lnTo>
                      <a:pt x="76" y="346"/>
                    </a:lnTo>
                    <a:lnTo>
                      <a:pt x="76" y="342"/>
                    </a:lnTo>
                    <a:lnTo>
                      <a:pt x="78" y="340"/>
                    </a:lnTo>
                    <a:lnTo>
                      <a:pt x="82" y="348"/>
                    </a:lnTo>
                    <a:lnTo>
                      <a:pt x="82" y="348"/>
                    </a:lnTo>
                    <a:lnTo>
                      <a:pt x="86" y="354"/>
                    </a:lnTo>
                    <a:lnTo>
                      <a:pt x="86" y="362"/>
                    </a:lnTo>
                    <a:lnTo>
                      <a:pt x="86" y="362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" name="Freeform 55"/>
              <p:cNvSpPr>
                <a:spLocks noChangeAspect="1" noEditPoints="1"/>
              </p:cNvSpPr>
              <p:nvPr/>
            </p:nvSpPr>
            <p:spPr bwMode="auto">
              <a:xfrm>
                <a:off x="1497" y="1832"/>
                <a:ext cx="74" cy="40"/>
              </a:xfrm>
              <a:custGeom>
                <a:avLst/>
                <a:gdLst/>
                <a:ahLst/>
                <a:cxnLst>
                  <a:cxn ang="0">
                    <a:pos x="74" y="26"/>
                  </a:cxn>
                  <a:cxn ang="0">
                    <a:pos x="74" y="26"/>
                  </a:cxn>
                  <a:cxn ang="0">
                    <a:pos x="74" y="22"/>
                  </a:cxn>
                  <a:cxn ang="0">
                    <a:pos x="72" y="20"/>
                  </a:cxn>
                  <a:cxn ang="0">
                    <a:pos x="72" y="20"/>
                  </a:cxn>
                  <a:cxn ang="0">
                    <a:pos x="64" y="14"/>
                  </a:cxn>
                  <a:cxn ang="0">
                    <a:pos x="64" y="14"/>
                  </a:cxn>
                  <a:cxn ang="0">
                    <a:pos x="54" y="12"/>
                  </a:cxn>
                  <a:cxn ang="0">
                    <a:pos x="50" y="14"/>
                  </a:cxn>
                  <a:cxn ang="0">
                    <a:pos x="48" y="16"/>
                  </a:cxn>
                  <a:cxn ang="0">
                    <a:pos x="46" y="16"/>
                  </a:cxn>
                  <a:cxn ang="0">
                    <a:pos x="46" y="16"/>
                  </a:cxn>
                  <a:cxn ang="0">
                    <a:pos x="42" y="14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6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18" y="8"/>
                  </a:cxn>
                  <a:cxn ang="0">
                    <a:pos x="30" y="16"/>
                  </a:cxn>
                  <a:cxn ang="0">
                    <a:pos x="44" y="24"/>
                  </a:cxn>
                  <a:cxn ang="0">
                    <a:pos x="44" y="24"/>
                  </a:cxn>
                  <a:cxn ang="0">
                    <a:pos x="42" y="28"/>
                  </a:cxn>
                  <a:cxn ang="0">
                    <a:pos x="44" y="32"/>
                  </a:cxn>
                  <a:cxn ang="0">
                    <a:pos x="46" y="36"/>
                  </a:cxn>
                  <a:cxn ang="0">
                    <a:pos x="52" y="40"/>
                  </a:cxn>
                  <a:cxn ang="0">
                    <a:pos x="52" y="40"/>
                  </a:cxn>
                  <a:cxn ang="0">
                    <a:pos x="58" y="40"/>
                  </a:cxn>
                  <a:cxn ang="0">
                    <a:pos x="64" y="40"/>
                  </a:cxn>
                  <a:cxn ang="0">
                    <a:pos x="66" y="38"/>
                  </a:cxn>
                  <a:cxn ang="0">
                    <a:pos x="70" y="36"/>
                  </a:cxn>
                  <a:cxn ang="0">
                    <a:pos x="70" y="36"/>
                  </a:cxn>
                  <a:cxn ang="0">
                    <a:pos x="74" y="30"/>
                  </a:cxn>
                  <a:cxn ang="0">
                    <a:pos x="74" y="26"/>
                  </a:cxn>
                  <a:cxn ang="0">
                    <a:pos x="74" y="26"/>
                  </a:cxn>
                  <a:cxn ang="0">
                    <a:pos x="28" y="30"/>
                  </a:cxn>
                  <a:cxn ang="0">
                    <a:pos x="28" y="30"/>
                  </a:cxn>
                  <a:cxn ang="0">
                    <a:pos x="22" y="26"/>
                  </a:cxn>
                  <a:cxn ang="0">
                    <a:pos x="20" y="24"/>
                  </a:cxn>
                  <a:cxn ang="0">
                    <a:pos x="20" y="18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4" y="10"/>
                  </a:cxn>
                  <a:cxn ang="0">
                    <a:pos x="28" y="8"/>
                  </a:cxn>
                  <a:cxn ang="0">
                    <a:pos x="30" y="8"/>
                  </a:cxn>
                  <a:cxn ang="0">
                    <a:pos x="34" y="10"/>
                  </a:cxn>
                  <a:cxn ang="0">
                    <a:pos x="34" y="10"/>
                  </a:cxn>
                  <a:cxn ang="0">
                    <a:pos x="42" y="14"/>
                  </a:cxn>
                  <a:cxn ang="0">
                    <a:pos x="44" y="18"/>
                  </a:cxn>
                  <a:cxn ang="0">
                    <a:pos x="42" y="22"/>
                  </a:cxn>
                  <a:cxn ang="0">
                    <a:pos x="42" y="22"/>
                  </a:cxn>
                  <a:cxn ang="0">
                    <a:pos x="40" y="28"/>
                  </a:cxn>
                  <a:cxn ang="0">
                    <a:pos x="36" y="30"/>
                  </a:cxn>
                  <a:cxn ang="0">
                    <a:pos x="28" y="30"/>
                  </a:cxn>
                  <a:cxn ang="0">
                    <a:pos x="28" y="30"/>
                  </a:cxn>
                </a:cxnLst>
                <a:rect l="0" t="0" r="r" b="b"/>
                <a:pathLst>
                  <a:path w="74" h="40">
                    <a:moveTo>
                      <a:pt x="74" y="26"/>
                    </a:moveTo>
                    <a:lnTo>
                      <a:pt x="74" y="26"/>
                    </a:lnTo>
                    <a:lnTo>
                      <a:pt x="74" y="22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54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8" y="8"/>
                    </a:lnTo>
                    <a:lnTo>
                      <a:pt x="30" y="16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2" y="28"/>
                    </a:lnTo>
                    <a:lnTo>
                      <a:pt x="44" y="32"/>
                    </a:lnTo>
                    <a:lnTo>
                      <a:pt x="46" y="36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8" y="40"/>
                    </a:lnTo>
                    <a:lnTo>
                      <a:pt x="64" y="40"/>
                    </a:lnTo>
                    <a:lnTo>
                      <a:pt x="66" y="38"/>
                    </a:lnTo>
                    <a:lnTo>
                      <a:pt x="70" y="36"/>
                    </a:lnTo>
                    <a:lnTo>
                      <a:pt x="70" y="36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4" y="26"/>
                    </a:lnTo>
                    <a:close/>
                    <a:moveTo>
                      <a:pt x="28" y="30"/>
                    </a:moveTo>
                    <a:lnTo>
                      <a:pt x="28" y="30"/>
                    </a:lnTo>
                    <a:lnTo>
                      <a:pt x="22" y="26"/>
                    </a:lnTo>
                    <a:lnTo>
                      <a:pt x="20" y="24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0"/>
                    </a:lnTo>
                    <a:lnTo>
                      <a:pt x="28" y="8"/>
                    </a:lnTo>
                    <a:lnTo>
                      <a:pt x="30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42" y="14"/>
                    </a:lnTo>
                    <a:lnTo>
                      <a:pt x="44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28"/>
                    </a:lnTo>
                    <a:lnTo>
                      <a:pt x="36" y="30"/>
                    </a:lnTo>
                    <a:lnTo>
                      <a:pt x="28" y="30"/>
                    </a:lnTo>
                    <a:lnTo>
                      <a:pt x="28" y="30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" name="Freeform 56"/>
              <p:cNvSpPr>
                <a:spLocks noChangeAspect="1"/>
              </p:cNvSpPr>
              <p:nvPr/>
            </p:nvSpPr>
            <p:spPr bwMode="auto">
              <a:xfrm>
                <a:off x="1491" y="1914"/>
                <a:ext cx="48" cy="164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8" y="28"/>
                  </a:cxn>
                  <a:cxn ang="0">
                    <a:pos x="12" y="38"/>
                  </a:cxn>
                  <a:cxn ang="0">
                    <a:pos x="12" y="38"/>
                  </a:cxn>
                  <a:cxn ang="0">
                    <a:pos x="20" y="68"/>
                  </a:cxn>
                  <a:cxn ang="0">
                    <a:pos x="28" y="100"/>
                  </a:cxn>
                  <a:cxn ang="0">
                    <a:pos x="28" y="100"/>
                  </a:cxn>
                  <a:cxn ang="0">
                    <a:pos x="36" y="118"/>
                  </a:cxn>
                  <a:cxn ang="0">
                    <a:pos x="44" y="136"/>
                  </a:cxn>
                  <a:cxn ang="0">
                    <a:pos x="44" y="136"/>
                  </a:cxn>
                  <a:cxn ang="0">
                    <a:pos x="46" y="150"/>
                  </a:cxn>
                  <a:cxn ang="0">
                    <a:pos x="46" y="164"/>
                  </a:cxn>
                  <a:cxn ang="0">
                    <a:pos x="46" y="164"/>
                  </a:cxn>
                  <a:cxn ang="0">
                    <a:pos x="48" y="146"/>
                  </a:cxn>
                  <a:cxn ang="0">
                    <a:pos x="48" y="128"/>
                  </a:cxn>
                  <a:cxn ang="0">
                    <a:pos x="44" y="86"/>
                  </a:cxn>
                  <a:cxn ang="0">
                    <a:pos x="40" y="46"/>
                  </a:cxn>
                  <a:cxn ang="0">
                    <a:pos x="34" y="10"/>
                  </a:cxn>
                  <a:cxn ang="0">
                    <a:pos x="34" y="10"/>
                  </a:cxn>
                  <a:cxn ang="0">
                    <a:pos x="32" y="8"/>
                  </a:cxn>
                  <a:cxn ang="0">
                    <a:pos x="28" y="8"/>
                  </a:cxn>
                  <a:cxn ang="0">
                    <a:pos x="22" y="8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0" y="20"/>
                  </a:cxn>
                </a:cxnLst>
                <a:rect l="0" t="0" r="r" b="b"/>
                <a:pathLst>
                  <a:path w="48" h="164">
                    <a:moveTo>
                      <a:pt x="0" y="20"/>
                    </a:moveTo>
                    <a:lnTo>
                      <a:pt x="0" y="20"/>
                    </a:lnTo>
                    <a:lnTo>
                      <a:pt x="4" y="22"/>
                    </a:lnTo>
                    <a:lnTo>
                      <a:pt x="8" y="2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20" y="68"/>
                    </a:lnTo>
                    <a:lnTo>
                      <a:pt x="28" y="100"/>
                    </a:lnTo>
                    <a:lnTo>
                      <a:pt x="28" y="100"/>
                    </a:lnTo>
                    <a:lnTo>
                      <a:pt x="36" y="118"/>
                    </a:lnTo>
                    <a:lnTo>
                      <a:pt x="44" y="136"/>
                    </a:lnTo>
                    <a:lnTo>
                      <a:pt x="44" y="136"/>
                    </a:lnTo>
                    <a:lnTo>
                      <a:pt x="46" y="150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8" y="146"/>
                    </a:lnTo>
                    <a:lnTo>
                      <a:pt x="48" y="128"/>
                    </a:lnTo>
                    <a:lnTo>
                      <a:pt x="44" y="86"/>
                    </a:lnTo>
                    <a:lnTo>
                      <a:pt x="40" y="4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2" y="8"/>
                    </a:lnTo>
                    <a:lnTo>
                      <a:pt x="28" y="8"/>
                    </a:lnTo>
                    <a:lnTo>
                      <a:pt x="22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" name="Freeform 57"/>
              <p:cNvSpPr>
                <a:spLocks noChangeAspect="1"/>
              </p:cNvSpPr>
              <p:nvPr/>
            </p:nvSpPr>
            <p:spPr bwMode="auto">
              <a:xfrm>
                <a:off x="1503" y="1916"/>
                <a:ext cx="46" cy="174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0" y="6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0" y="32"/>
                  </a:cxn>
                  <a:cxn ang="0">
                    <a:pos x="14" y="44"/>
                  </a:cxn>
                  <a:cxn ang="0">
                    <a:pos x="14" y="44"/>
                  </a:cxn>
                  <a:cxn ang="0">
                    <a:pos x="16" y="78"/>
                  </a:cxn>
                  <a:cxn ang="0">
                    <a:pos x="16" y="78"/>
                  </a:cxn>
                  <a:cxn ang="0">
                    <a:pos x="16" y="118"/>
                  </a:cxn>
                  <a:cxn ang="0">
                    <a:pos x="28" y="162"/>
                  </a:cxn>
                  <a:cxn ang="0">
                    <a:pos x="36" y="174"/>
                  </a:cxn>
                  <a:cxn ang="0">
                    <a:pos x="46" y="136"/>
                  </a:cxn>
                  <a:cxn ang="0">
                    <a:pos x="30" y="54"/>
                  </a:cxn>
                  <a:cxn ang="0">
                    <a:pos x="16" y="18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4" y="2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4" y="2"/>
                  </a:cxn>
                </a:cxnLst>
                <a:rect l="0" t="0" r="r" b="b"/>
                <a:pathLst>
                  <a:path w="46" h="174">
                    <a:moveTo>
                      <a:pt x="4" y="2"/>
                    </a:moveTo>
                    <a:lnTo>
                      <a:pt x="0" y="6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32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118"/>
                    </a:lnTo>
                    <a:lnTo>
                      <a:pt x="28" y="162"/>
                    </a:lnTo>
                    <a:lnTo>
                      <a:pt x="36" y="174"/>
                    </a:lnTo>
                    <a:lnTo>
                      <a:pt x="46" y="136"/>
                    </a:lnTo>
                    <a:lnTo>
                      <a:pt x="30" y="54"/>
                    </a:lnTo>
                    <a:lnTo>
                      <a:pt x="16" y="1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pic>
          <p:nvPicPr>
            <p:cNvPr id="27" name="Picture 58" descr="bd07105_[1]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 flipH="1">
              <a:off x="609" y="3086"/>
              <a:ext cx="241" cy="504"/>
            </a:xfrm>
            <a:prstGeom prst="rect">
              <a:avLst/>
            </a:prstGeom>
            <a:noFill/>
          </p:spPr>
        </p:pic>
      </p:grpSp>
      <p:sp>
        <p:nvSpPr>
          <p:cNvPr id="38" name="Textfeld 53"/>
          <p:cNvSpPr txBox="1">
            <a:spLocks noChangeArrowheads="1"/>
          </p:cNvSpPr>
          <p:nvPr/>
        </p:nvSpPr>
        <p:spPr bwMode="auto">
          <a:xfrm>
            <a:off x="-594621" y="5265956"/>
            <a:ext cx="2504587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eaLnBrk="1" hangingPunct="1">
              <a:spcBef>
                <a:spcPct val="0"/>
              </a:spcBef>
            </a:pP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>Service Provider</a:t>
            </a:r>
          </a:p>
          <a:p>
            <a:pPr algn="r" eaLnBrk="1" hangingPunct="1">
              <a:spcBef>
                <a:spcPct val="0"/>
              </a:spcBef>
            </a:pPr>
            <a:r>
              <a:rPr lang="de-DE" sz="1600" dirty="0" smtClean="0">
                <a:cs typeface="Tahoma" pitchFamily="34" charset="0"/>
              </a:rPr>
              <a:t>(Public </a:t>
            </a:r>
            <a:r>
              <a:rPr lang="de-DE" sz="1600" dirty="0" err="1" smtClean="0">
                <a:cs typeface="Tahoma" pitchFamily="34" charset="0"/>
              </a:rPr>
              <a:t>and</a:t>
            </a:r>
            <a:r>
              <a:rPr lang="de-DE" sz="1600" dirty="0" smtClean="0">
                <a:cs typeface="Tahoma" pitchFamily="34" charset="0"/>
              </a:rPr>
              <a:t> </a:t>
            </a:r>
            <a:br>
              <a:rPr lang="de-DE" sz="1600" dirty="0" smtClean="0">
                <a:cs typeface="Tahoma" pitchFamily="34" charset="0"/>
              </a:rPr>
            </a:br>
            <a:r>
              <a:rPr lang="de-DE" sz="1600" dirty="0" smtClean="0">
                <a:cs typeface="Tahoma" pitchFamily="34" charset="0"/>
              </a:rPr>
              <a:t>Private </a:t>
            </a:r>
            <a:r>
              <a:rPr lang="de-DE" sz="1600" dirty="0" err="1" smtClean="0">
                <a:cs typeface="Tahoma" pitchFamily="34" charset="0"/>
              </a:rPr>
              <a:t>Sector</a:t>
            </a:r>
            <a:r>
              <a:rPr lang="de-DE" sz="1600" dirty="0" smtClean="0">
                <a:cs typeface="Tahoma" pitchFamily="34" charset="0"/>
              </a:rPr>
              <a:t>)</a:t>
            </a:r>
            <a:endParaRPr kumimoji="0" lang="de-DE" sz="1600" dirty="0" smtClean="0">
              <a:solidFill>
                <a:schemeClr val="tx1"/>
              </a:solidFill>
              <a:cs typeface="Tahoma" pitchFamily="34" charset="0"/>
            </a:endParaRPr>
          </a:p>
          <a:p>
            <a:pPr algn="l" eaLnBrk="1" hangingPunct="1">
              <a:spcBef>
                <a:spcPct val="0"/>
              </a:spcBef>
            </a:pPr>
            <a:endParaRPr lang="de-DE" sz="1600" dirty="0" smtClean="0">
              <a:cs typeface="Tahoma" pitchFamily="34" charset="0"/>
            </a:endParaRPr>
          </a:p>
        </p:txBody>
      </p:sp>
      <p:sp>
        <p:nvSpPr>
          <p:cNvPr id="39" name="Textfeld 53"/>
          <p:cNvSpPr txBox="1">
            <a:spLocks noChangeArrowheads="1"/>
          </p:cNvSpPr>
          <p:nvPr/>
        </p:nvSpPr>
        <p:spPr bwMode="auto">
          <a:xfrm>
            <a:off x="6319372" y="5189181"/>
            <a:ext cx="250458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eaLnBrk="1" hangingPunct="1">
              <a:spcBef>
                <a:spcPct val="0"/>
              </a:spcBef>
            </a:pPr>
            <a:r>
              <a:rPr kumimoji="0" lang="de-DE" sz="1600" dirty="0" smtClean="0">
                <a:solidFill>
                  <a:schemeClr val="tx1"/>
                </a:solidFill>
                <a:cs typeface="Tahoma" pitchFamily="34" charset="0"/>
              </a:rPr>
              <a:t>App Developers</a:t>
            </a:r>
          </a:p>
          <a:p>
            <a:pPr algn="r" eaLnBrk="1" hangingPunct="1">
              <a:spcBef>
                <a:spcPct val="0"/>
              </a:spcBef>
            </a:pPr>
            <a:r>
              <a:rPr lang="de-DE" sz="1600" dirty="0" smtClean="0">
                <a:cs typeface="Tahoma" pitchFamily="34" charset="0"/>
              </a:rPr>
              <a:t>(</a:t>
            </a:r>
            <a:r>
              <a:rPr lang="de-DE" sz="1600" dirty="0" err="1" smtClean="0">
                <a:cs typeface="Tahoma" pitchFamily="34" charset="0"/>
              </a:rPr>
              <a:t>Civil</a:t>
            </a:r>
            <a:r>
              <a:rPr lang="de-DE" sz="1600" dirty="0" smtClean="0">
                <a:cs typeface="Tahoma" pitchFamily="34" charset="0"/>
              </a:rPr>
              <a:t> Society </a:t>
            </a:r>
            <a:r>
              <a:rPr lang="de-DE" sz="1600" dirty="0" err="1" smtClean="0">
                <a:cs typeface="Tahoma" pitchFamily="34" charset="0"/>
              </a:rPr>
              <a:t>and</a:t>
            </a:r>
            <a:r>
              <a:rPr lang="de-DE" sz="1600" dirty="0" smtClean="0">
                <a:cs typeface="Tahoma" pitchFamily="34" charset="0"/>
              </a:rPr>
              <a:t> Business)</a:t>
            </a:r>
          </a:p>
        </p:txBody>
      </p:sp>
      <p:sp>
        <p:nvSpPr>
          <p:cNvPr id="40" name="Pfeil nach rechts 39"/>
          <p:cNvSpPr/>
          <p:nvPr/>
        </p:nvSpPr>
        <p:spPr>
          <a:xfrm>
            <a:off x="1517829" y="4609882"/>
            <a:ext cx="540432" cy="440364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Pfeil nach rechts 40"/>
          <p:cNvSpPr/>
          <p:nvPr/>
        </p:nvSpPr>
        <p:spPr>
          <a:xfrm rot="10800000">
            <a:off x="7033434" y="4524402"/>
            <a:ext cx="540432" cy="440364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2" name="tower"/>
          <p:cNvSpPr>
            <a:spLocks noEditPoints="1" noChangeArrowheads="1"/>
          </p:cNvSpPr>
          <p:nvPr/>
        </p:nvSpPr>
        <p:spPr bwMode="auto">
          <a:xfrm>
            <a:off x="4720493" y="5746657"/>
            <a:ext cx="192088" cy="306388"/>
          </a:xfrm>
          <a:custGeom>
            <a:avLst/>
            <a:gdLst>
              <a:gd name="T0" fmla="*/ 0 w 21600"/>
              <a:gd name="T1" fmla="*/ 36404 h 21600"/>
              <a:gd name="T2" fmla="*/ 66647 w 21600"/>
              <a:gd name="T3" fmla="*/ 0 h 21600"/>
              <a:gd name="T4" fmla="*/ 108012 w 21600"/>
              <a:gd name="T5" fmla="*/ 0 h 21600"/>
              <a:gd name="T6" fmla="*/ 216024 w 21600"/>
              <a:gd name="T7" fmla="*/ 0 h 21600"/>
              <a:gd name="T8" fmla="*/ 216024 w 21600"/>
              <a:gd name="T9" fmla="*/ 194171 h 21600"/>
              <a:gd name="T10" fmla="*/ 216024 w 21600"/>
              <a:gd name="T11" fmla="*/ 323635 h 21600"/>
              <a:gd name="T12" fmla="*/ 151677 w 21600"/>
              <a:gd name="T13" fmla="*/ 360039 h 21600"/>
              <a:gd name="T14" fmla="*/ 105712 w 21600"/>
              <a:gd name="T15" fmla="*/ 360039 h 21600"/>
              <a:gd name="T16" fmla="*/ 0 w 21600"/>
              <a:gd name="T17" fmla="*/ 360039 h 21600"/>
              <a:gd name="T18" fmla="*/ 0 w 21600"/>
              <a:gd name="T19" fmla="*/ 192154 h 216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459 w 21600"/>
              <a:gd name="T31" fmla="*/ 22540 h 21600"/>
              <a:gd name="T32" fmla="*/ 21485 w 21600"/>
              <a:gd name="T33" fmla="*/ 27000 h 2160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1600" h="21600" extrusionOk="0">
                <a:moveTo>
                  <a:pt x="0" y="2184"/>
                </a:moveTo>
                <a:lnTo>
                  <a:pt x="6664" y="0"/>
                </a:lnTo>
                <a:lnTo>
                  <a:pt x="10800" y="0"/>
                </a:lnTo>
                <a:lnTo>
                  <a:pt x="21600" y="0"/>
                </a:lnTo>
                <a:lnTo>
                  <a:pt x="21600" y="11649"/>
                </a:lnTo>
                <a:lnTo>
                  <a:pt x="21600" y="19416"/>
                </a:lnTo>
                <a:lnTo>
                  <a:pt x="15166" y="21600"/>
                </a:lnTo>
                <a:lnTo>
                  <a:pt x="10570" y="21600"/>
                </a:lnTo>
                <a:lnTo>
                  <a:pt x="0" y="21600"/>
                </a:lnTo>
                <a:lnTo>
                  <a:pt x="0" y="11528"/>
                </a:lnTo>
                <a:lnTo>
                  <a:pt x="0" y="2184"/>
                </a:lnTo>
                <a:close/>
              </a:path>
              <a:path w="21600" h="21600" extrusionOk="0">
                <a:moveTo>
                  <a:pt x="0" y="2184"/>
                </a:moveTo>
                <a:lnTo>
                  <a:pt x="0" y="2184"/>
                </a:lnTo>
                <a:lnTo>
                  <a:pt x="14706" y="2184"/>
                </a:lnTo>
                <a:lnTo>
                  <a:pt x="21600" y="0"/>
                </a:lnTo>
                <a:moveTo>
                  <a:pt x="0" y="2184"/>
                </a:moveTo>
                <a:lnTo>
                  <a:pt x="14706" y="2184"/>
                </a:lnTo>
                <a:lnTo>
                  <a:pt x="14706" y="5339"/>
                </a:lnTo>
                <a:lnTo>
                  <a:pt x="14706" y="17474"/>
                </a:lnTo>
                <a:lnTo>
                  <a:pt x="14706" y="21600"/>
                </a:lnTo>
                <a:moveTo>
                  <a:pt x="1149" y="3034"/>
                </a:moveTo>
                <a:lnTo>
                  <a:pt x="13328" y="3034"/>
                </a:lnTo>
                <a:lnTo>
                  <a:pt x="13328" y="3519"/>
                </a:lnTo>
                <a:lnTo>
                  <a:pt x="1149" y="3519"/>
                </a:lnTo>
                <a:lnTo>
                  <a:pt x="1149" y="3034"/>
                </a:lnTo>
                <a:moveTo>
                  <a:pt x="1149" y="4490"/>
                </a:moveTo>
                <a:lnTo>
                  <a:pt x="13328" y="4490"/>
                </a:lnTo>
                <a:lnTo>
                  <a:pt x="13328" y="4854"/>
                </a:lnTo>
                <a:lnTo>
                  <a:pt x="1149" y="4854"/>
                </a:lnTo>
                <a:lnTo>
                  <a:pt x="1149" y="4490"/>
                </a:lnTo>
                <a:moveTo>
                  <a:pt x="1149" y="5946"/>
                </a:moveTo>
                <a:lnTo>
                  <a:pt x="13328" y="5946"/>
                </a:lnTo>
                <a:lnTo>
                  <a:pt x="13328" y="6310"/>
                </a:lnTo>
                <a:lnTo>
                  <a:pt x="1149" y="6310"/>
                </a:lnTo>
                <a:lnTo>
                  <a:pt x="1149" y="5946"/>
                </a:lnTo>
              </a:path>
            </a:pathLst>
          </a:custGeom>
          <a:gradFill rotWithShape="1">
            <a:gsLst>
              <a:gs pos="0">
                <a:srgbClr val="BCBCBC"/>
              </a:gs>
              <a:gs pos="35001">
                <a:srgbClr val="D0D0D0"/>
              </a:gs>
              <a:gs pos="100000">
                <a:srgbClr val="EDEDED"/>
              </a:gs>
            </a:gsLst>
            <a:lin ang="16200000" scaled="1"/>
          </a:gradFill>
          <a:ln w="9525" cap="flat" cmpd="sng" algn="ctr">
            <a:solidFill>
              <a:srgbClr val="000000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1392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3" grpId="0"/>
      <p:bldP spid="38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smtClean="0">
                <a:cs typeface="Arial" pitchFamily="34" charset="0"/>
              </a:rPr>
              <a:t>Smart (City) </a:t>
            </a:r>
            <a:r>
              <a:rPr lang="de-DE" sz="2000" b="1" dirty="0" err="1" smtClean="0">
                <a:cs typeface="Arial" pitchFamily="34" charset="0"/>
              </a:rPr>
              <a:t>Government</a:t>
            </a:r>
            <a:endParaRPr lang="de-DE" sz="2000" b="1" dirty="0" smtClean="0">
              <a:cs typeface="Arial" pitchFamily="34" charset="0"/>
            </a:endParaRPr>
          </a:p>
          <a:p>
            <a:pPr>
              <a:defRPr/>
            </a:pP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Citizen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>
                <a:solidFill>
                  <a:srgbClr val="008080"/>
                </a:solidFill>
                <a:cs typeface="Arial" pitchFamily="34" charset="0"/>
              </a:rPr>
              <a:t>i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ssue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management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1377499"/>
            <a:ext cx="8344535" cy="4825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en-US" dirty="0" smtClean="0"/>
              <a:t>Citizens report </a:t>
            </a:r>
            <a:r>
              <a:rPr lang="en-US" dirty="0"/>
              <a:t>local </a:t>
            </a:r>
            <a:r>
              <a:rPr lang="en-US" dirty="0" smtClean="0"/>
              <a:t>issues </a:t>
            </a:r>
            <a:br>
              <a:rPr lang="en-US" dirty="0" smtClean="0"/>
            </a:br>
            <a:r>
              <a:rPr lang="en-US" dirty="0" smtClean="0"/>
              <a:t>to </a:t>
            </a:r>
            <a:r>
              <a:rPr lang="en-US" dirty="0"/>
              <a:t>the responsible local </a:t>
            </a:r>
            <a:r>
              <a:rPr lang="en-US" dirty="0" smtClean="0"/>
              <a:t>authorities</a:t>
            </a:r>
            <a:endParaRPr lang="de-DE" dirty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Mobile </a:t>
            </a:r>
            <a:r>
              <a:rPr lang="de-DE" dirty="0" err="1" smtClean="0"/>
              <a:t>reporting</a:t>
            </a:r>
            <a:r>
              <a:rPr lang="de-DE" dirty="0" smtClean="0"/>
              <a:t> </a:t>
            </a:r>
            <a:r>
              <a:rPr lang="de-DE" dirty="0" err="1" smtClean="0"/>
              <a:t>app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itizens</a:t>
            </a: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Backend </a:t>
            </a:r>
            <a:r>
              <a:rPr lang="de-DE" dirty="0" err="1" smtClean="0"/>
              <a:t>integra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case</a:t>
            </a:r>
            <a:r>
              <a:rPr lang="de-DE" dirty="0" smtClean="0"/>
              <a:t> </a:t>
            </a:r>
            <a:r>
              <a:rPr lang="de-DE" dirty="0" err="1" smtClean="0"/>
              <a:t>management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at</a:t>
            </a:r>
            <a:r>
              <a:rPr lang="de-DE" dirty="0" smtClean="0"/>
              <a:t> </a:t>
            </a:r>
            <a:r>
              <a:rPr lang="de-DE" dirty="0" err="1" smtClean="0"/>
              <a:t>public</a:t>
            </a:r>
            <a:r>
              <a:rPr lang="de-DE" dirty="0" smtClean="0"/>
              <a:t> </a:t>
            </a:r>
            <a:r>
              <a:rPr lang="de-DE" dirty="0" err="1" smtClean="0"/>
              <a:t>authorities</a:t>
            </a:r>
            <a:endParaRPr lang="de-DE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Public </a:t>
            </a:r>
            <a:r>
              <a:rPr lang="de-DE" dirty="0" err="1" smtClean="0"/>
              <a:t>administration</a:t>
            </a:r>
            <a:r>
              <a:rPr lang="de-DE" dirty="0" smtClean="0"/>
              <a:t>:</a:t>
            </a:r>
            <a:br>
              <a:rPr lang="de-DE" dirty="0" smtClean="0"/>
            </a:br>
            <a:r>
              <a:rPr lang="de-DE" dirty="0" err="1" smtClean="0"/>
              <a:t>Reduced</a:t>
            </a:r>
            <a:r>
              <a:rPr lang="de-DE" dirty="0" smtClean="0"/>
              <a:t> </a:t>
            </a:r>
            <a:r>
              <a:rPr lang="de-DE" dirty="0" err="1" smtClean="0"/>
              <a:t>inspection</a:t>
            </a:r>
            <a:r>
              <a:rPr lang="de-DE" dirty="0" smtClean="0"/>
              <a:t> </a:t>
            </a:r>
            <a:r>
              <a:rPr lang="de-DE" dirty="0" err="1" smtClean="0"/>
              <a:t>efforts</a:t>
            </a:r>
            <a:endParaRPr lang="de-DE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err="1" smtClean="0"/>
              <a:t>Citizen</a:t>
            </a:r>
            <a:r>
              <a:rPr lang="de-DE" dirty="0" smtClean="0"/>
              <a:t>:</a:t>
            </a:r>
            <a:br>
              <a:rPr lang="de-DE" dirty="0" smtClean="0"/>
            </a:br>
            <a:r>
              <a:rPr lang="de-DE" dirty="0" smtClean="0"/>
              <a:t>Track </a:t>
            </a:r>
            <a:r>
              <a:rPr lang="de-DE" dirty="0" err="1" smtClean="0"/>
              <a:t>statu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ssues</a:t>
            </a:r>
            <a:endParaRPr lang="de-DE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dirty="0" smtClean="0"/>
              <a:t>City </a:t>
            </a:r>
            <a:r>
              <a:rPr lang="de-DE" dirty="0" err="1" smtClean="0"/>
              <a:t>Government</a:t>
            </a:r>
            <a:r>
              <a:rPr lang="de-DE" dirty="0" smtClean="0"/>
              <a:t>:</a:t>
            </a:r>
            <a:br>
              <a:rPr lang="de-DE" dirty="0" smtClean="0"/>
            </a:br>
            <a:r>
              <a:rPr lang="de-DE" dirty="0" err="1" smtClean="0"/>
              <a:t>Better</a:t>
            </a:r>
            <a:r>
              <a:rPr lang="de-DE" dirty="0" smtClean="0"/>
              <a:t> </a:t>
            </a:r>
            <a:r>
              <a:rPr lang="de-DE" dirty="0" err="1" smtClean="0"/>
              <a:t>insigh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itizen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, </a:t>
            </a:r>
            <a:br>
              <a:rPr lang="de-DE" dirty="0" smtClean="0"/>
            </a:br>
            <a:r>
              <a:rPr lang="de-DE" dirty="0" err="1" smtClean="0"/>
              <a:t>better</a:t>
            </a:r>
            <a:r>
              <a:rPr lang="de-DE" dirty="0" smtClean="0"/>
              <a:t> </a:t>
            </a:r>
            <a:r>
              <a:rPr lang="de-DE" dirty="0" err="1" smtClean="0"/>
              <a:t>governanc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/>
          </a:p>
        </p:txBody>
      </p:sp>
      <p:pic>
        <p:nvPicPr>
          <p:cNvPr id="5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17606" y="382588"/>
            <a:ext cx="4285184" cy="22754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17606" y="1727393"/>
            <a:ext cx="2228850" cy="42576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395"/>
          <a:stretch/>
        </p:blipFill>
        <p:spPr bwMode="auto">
          <a:xfrm>
            <a:off x="6783392" y="2273367"/>
            <a:ext cx="2266950" cy="380629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92331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pieren 21"/>
          <p:cNvGrpSpPr/>
          <p:nvPr/>
        </p:nvGrpSpPr>
        <p:grpSpPr>
          <a:xfrm>
            <a:off x="1992508" y="5323899"/>
            <a:ext cx="5536947" cy="487641"/>
            <a:chOff x="955558" y="5132389"/>
            <a:chExt cx="3682313" cy="451115"/>
          </a:xfrm>
        </p:grpSpPr>
        <p:sp>
          <p:nvSpPr>
            <p:cNvPr id="23" name="Abgerundetes Rechteck 22"/>
            <p:cNvSpPr/>
            <p:nvPr/>
          </p:nvSpPr>
          <p:spPr>
            <a:xfrm>
              <a:off x="955558" y="5132390"/>
              <a:ext cx="3682313" cy="451114"/>
            </a:xfrm>
            <a:prstGeom prst="roundRect">
              <a:avLst/>
            </a:prstGeom>
            <a:ln w="6350" cap="flat" cmpd="sng" algn="ctr">
              <a:solidFill>
                <a:srgbClr val="17A57D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190500" dist="25400" dir="2700000">
                <a:srgbClr val="000000">
                  <a:alpha val="43000"/>
                </a:srgbClr>
              </a:outerShdw>
            </a:effectLst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24" name="Bild 29" descr="icon12.png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7994" y="5279164"/>
              <a:ext cx="687387" cy="171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" name="Picture 10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6904" y="5132389"/>
              <a:ext cx="864096" cy="3600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3923" y="5247937"/>
              <a:ext cx="524569" cy="216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3883" y="5158466"/>
              <a:ext cx="430460" cy="3054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61321" y="5222018"/>
              <a:ext cx="304353" cy="3133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5564" y="5191256"/>
              <a:ext cx="86677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4725" y="5235146"/>
              <a:ext cx="428625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4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3923" y="5246411"/>
              <a:ext cx="523875" cy="219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smtClean="0">
                <a:cs typeface="Arial" pitchFamily="34" charset="0"/>
              </a:rPr>
              <a:t>Smart (City) </a:t>
            </a:r>
            <a:r>
              <a:rPr lang="de-DE" sz="2000" b="1" dirty="0" err="1" smtClean="0">
                <a:cs typeface="Arial" pitchFamily="34" charset="0"/>
              </a:rPr>
              <a:t>Government</a:t>
            </a:r>
            <a:endParaRPr lang="de-DE" sz="2000" b="1" dirty="0" smtClean="0">
              <a:cs typeface="Arial" pitchFamily="34" charset="0"/>
            </a:endParaRPr>
          </a:p>
          <a:p>
            <a:pPr>
              <a:defRPr/>
            </a:pP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Towards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a Smart City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Cloud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337531" y="1079775"/>
            <a:ext cx="8344535" cy="4825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1272434" y="2239226"/>
            <a:ext cx="6750299" cy="3145337"/>
            <a:chOff x="780326" y="3846181"/>
            <a:chExt cx="5339097" cy="2270862"/>
          </a:xfrm>
        </p:grpSpPr>
        <p:sp>
          <p:nvSpPr>
            <p:cNvPr id="8" name="Cloud"/>
            <p:cNvSpPr>
              <a:spLocks noChangeAspect="1" noEditPoints="1" noChangeArrowheads="1"/>
            </p:cNvSpPr>
            <p:nvPr/>
          </p:nvSpPr>
          <p:spPr bwMode="auto">
            <a:xfrm>
              <a:off x="780326" y="4651427"/>
              <a:ext cx="5339097" cy="1465616"/>
            </a:xfrm>
            <a:custGeom>
              <a:avLst/>
              <a:gdLst>
                <a:gd name="T0" fmla="*/ 67 w 21600"/>
                <a:gd name="T1" fmla="*/ 10800 h 21600"/>
                <a:gd name="T2" fmla="*/ 10800 w 21600"/>
                <a:gd name="T3" fmla="*/ 21577 h 21600"/>
                <a:gd name="T4" fmla="*/ 21582 w 21600"/>
                <a:gd name="T5" fmla="*/ 10800 h 21600"/>
                <a:gd name="T6" fmla="*/ 10800 w 21600"/>
                <a:gd name="T7" fmla="*/ 1235 h 21600"/>
                <a:gd name="T8" fmla="*/ 2977 w 21600"/>
                <a:gd name="T9" fmla="*/ 3262 h 21600"/>
                <a:gd name="T10" fmla="*/ 17087 w 21600"/>
                <a:gd name="T11" fmla="*/ 173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ln>
              <a:solidFill>
                <a:schemeClr val="tx1">
                  <a:lumMod val="65000"/>
                  <a:lumOff val="35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1003">
              <a:schemeClr val="lt2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defRPr/>
              </a:pPr>
              <a:endParaRPr lang="en-US" noProof="1" smtClean="0">
                <a:latin typeface="Arial" charset="0"/>
              </a:endParaRPr>
            </a:p>
          </p:txBody>
        </p:sp>
        <p:pic>
          <p:nvPicPr>
            <p:cNvPr id="9" name="Picture 22" descr="berlin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126009" y="5210460"/>
              <a:ext cx="704563" cy="461798"/>
            </a:xfrm>
            <a:prstGeom prst="rect">
              <a:avLst/>
            </a:prstGeom>
            <a:noFill/>
          </p:spPr>
        </p:pic>
        <p:sp>
          <p:nvSpPr>
            <p:cNvPr id="10" name="Textfeld 9"/>
            <p:cNvSpPr txBox="1"/>
            <p:nvPr/>
          </p:nvSpPr>
          <p:spPr>
            <a:xfrm>
              <a:off x="2583038" y="5672627"/>
              <a:ext cx="1790504" cy="4444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noProof="1" smtClean="0">
                  <a:solidFill>
                    <a:schemeClr val="bg1"/>
                  </a:solidFill>
                  <a:latin typeface="Arial" charset="0"/>
                </a:rPr>
                <a:t>Smart </a:t>
              </a:r>
              <a:r>
                <a:rPr lang="en-US" sz="2000" b="1" noProof="1">
                  <a:solidFill>
                    <a:schemeClr val="bg1"/>
                  </a:solidFill>
                  <a:latin typeface="Arial" charset="0"/>
                </a:rPr>
                <a:t>City Cloud</a:t>
              </a:r>
            </a:p>
            <a:p>
              <a:endParaRPr lang="de-DE" sz="1400" dirty="0" err="1" smtClean="0">
                <a:latin typeface="Tahoma"/>
                <a:cs typeface="Tahoma"/>
              </a:endParaRPr>
            </a:p>
          </p:txBody>
        </p:sp>
        <p:sp>
          <p:nvSpPr>
            <p:cNvPr id="11" name="Abgerundetes Rechteck 10"/>
            <p:cNvSpPr/>
            <p:nvPr/>
          </p:nvSpPr>
          <p:spPr>
            <a:xfrm>
              <a:off x="848476" y="4950395"/>
              <a:ext cx="5202799" cy="235652"/>
            </a:xfrm>
            <a:prstGeom prst="roundRect">
              <a:avLst/>
            </a:prstGeom>
            <a:ln w="6350" cap="flat" cmpd="sng" algn="ctr">
              <a:solidFill>
                <a:srgbClr val="17A57D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190500" dist="25400" dir="2700000">
                <a:srgbClr val="000000">
                  <a:alpha val="43000"/>
                </a:srgbClr>
              </a:outerShdw>
            </a:effectLst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600" kern="0" dirty="0" smtClean="0">
                  <a:solidFill>
                    <a:schemeClr val="bg2">
                      <a:lumMod val="75000"/>
                    </a:schemeClr>
                  </a:solidFill>
                  <a:latin typeface="Tahoma"/>
                  <a:ea typeface="+mn-ea"/>
                  <a:cs typeface="+mn-cs"/>
                </a:rPr>
                <a:t>Open Data </a:t>
              </a:r>
              <a:r>
                <a:rPr lang="de-DE" sz="1600" kern="0" dirty="0" err="1" smtClean="0">
                  <a:solidFill>
                    <a:schemeClr val="bg2">
                      <a:lumMod val="75000"/>
                    </a:schemeClr>
                  </a:solidFill>
                  <a:latin typeface="Tahoma"/>
                  <a:ea typeface="+mn-ea"/>
                  <a:cs typeface="+mn-cs"/>
                </a:rPr>
                <a:t>and</a:t>
              </a:r>
              <a:r>
                <a:rPr lang="de-DE" sz="1600" kern="0" dirty="0" smtClean="0">
                  <a:solidFill>
                    <a:schemeClr val="bg2">
                      <a:lumMod val="75000"/>
                    </a:schemeClr>
                  </a:solidFill>
                  <a:latin typeface="Tahoma"/>
                  <a:ea typeface="+mn-ea"/>
                  <a:cs typeface="+mn-cs"/>
                </a:rPr>
                <a:t> Open Service Interfaces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12" name="Picture 7" descr="C:\Users\mfl\AppData\Local\Microsoft\Windows\Temporary Internet Files\Content.IE5\WOE78SW8\MC900441332[1]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9984" y="4013589"/>
              <a:ext cx="427039" cy="4270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8" descr="C:\Users\mfl\AppData\Local\Microsoft\Windows\Temporary Internet Files\Content.IE5\T2G5WN53\MC900433847[1]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4644" y="3960712"/>
              <a:ext cx="457200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Abgerundetes Rechteck 15"/>
            <p:cNvSpPr/>
            <p:nvPr/>
          </p:nvSpPr>
          <p:spPr>
            <a:xfrm>
              <a:off x="848476" y="4525016"/>
              <a:ext cx="1483294" cy="367713"/>
            </a:xfrm>
            <a:prstGeom prst="roundRect">
              <a:avLst/>
            </a:prstGeom>
            <a:ln w="6350" cap="flat" cmpd="sng" algn="ctr">
              <a:solidFill>
                <a:srgbClr val="17A57D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190500" dist="25400" dir="2700000">
                <a:srgbClr val="000000">
                  <a:alpha val="43000"/>
                </a:srgbClr>
              </a:outerShdw>
            </a:effectLst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Development Tools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" name="Abgerundetes Rechteck 16"/>
            <p:cNvSpPr/>
            <p:nvPr/>
          </p:nvSpPr>
          <p:spPr>
            <a:xfrm>
              <a:off x="4158086" y="4525016"/>
              <a:ext cx="1893189" cy="373996"/>
            </a:xfrm>
            <a:prstGeom prst="roundRect">
              <a:avLst/>
            </a:prstGeom>
            <a:ln w="6350" cap="flat" cmpd="sng" algn="ctr">
              <a:solidFill>
                <a:srgbClr val="17A57D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190500" dist="25400" dir="2700000">
                <a:srgbClr val="000000">
                  <a:alpha val="43000"/>
                </a:srgbClr>
              </a:outerShdw>
            </a:effectLst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de-DE" sz="1600" kern="0" noProof="0" dirty="0" err="1" smtClean="0">
                  <a:solidFill>
                    <a:schemeClr val="bg2">
                      <a:lumMod val="75000"/>
                    </a:schemeClr>
                  </a:solidFill>
                  <a:latin typeface="Tahoma"/>
                  <a:ea typeface="+mn-ea"/>
                  <a:cs typeface="+mn-cs"/>
                </a:rPr>
                <a:t>Collaboration</a:t>
              </a:r>
              <a:r>
                <a:rPr lang="de-DE" sz="1600" kern="0" noProof="0" dirty="0" smtClean="0">
                  <a:solidFill>
                    <a:schemeClr val="bg2">
                      <a:lumMod val="75000"/>
                    </a:schemeClr>
                  </a:solidFill>
                  <a:latin typeface="Tahoma"/>
                  <a:ea typeface="+mn-ea"/>
                  <a:cs typeface="+mn-cs"/>
                </a:rPr>
                <a:t> </a:t>
              </a:r>
              <a:br>
                <a:rPr lang="de-DE" sz="1600" kern="0" noProof="0" dirty="0" smtClean="0">
                  <a:solidFill>
                    <a:schemeClr val="bg2">
                      <a:lumMod val="75000"/>
                    </a:schemeClr>
                  </a:solidFill>
                  <a:latin typeface="Tahoma"/>
                  <a:ea typeface="+mn-ea"/>
                  <a:cs typeface="+mn-cs"/>
                </a:rPr>
              </a:br>
              <a:r>
                <a:rPr lang="de-DE" sz="1600" kern="0" noProof="0" dirty="0" smtClean="0">
                  <a:solidFill>
                    <a:schemeClr val="bg2">
                      <a:lumMod val="75000"/>
                    </a:schemeClr>
                  </a:solidFill>
                  <a:latin typeface="Tahoma"/>
                  <a:ea typeface="+mn-ea"/>
                  <a:cs typeface="+mn-cs"/>
                </a:rPr>
                <a:t>Tools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" name="Abgerundetes Rechteck 17"/>
            <p:cNvSpPr/>
            <p:nvPr/>
          </p:nvSpPr>
          <p:spPr>
            <a:xfrm>
              <a:off x="2471676" y="4533626"/>
              <a:ext cx="1561049" cy="365386"/>
            </a:xfrm>
            <a:prstGeom prst="roundRect">
              <a:avLst/>
            </a:prstGeom>
            <a:ln w="6350" cap="flat" cmpd="sng" algn="ctr">
              <a:solidFill>
                <a:srgbClr val="17A57D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190500" dist="25400" dir="2700000">
                <a:srgbClr val="000000">
                  <a:alpha val="43000"/>
                </a:srgbClr>
              </a:outerShdw>
            </a:effectLst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Data </a:t>
              </a:r>
              <a:br>
                <a:rPr kumimoji="0" lang="de-DE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</a:br>
              <a:r>
                <a:rPr kumimoji="0" lang="de-DE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Analytics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9047" y="3846181"/>
              <a:ext cx="1201525" cy="66633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0839" y="1452726"/>
            <a:ext cx="3332437" cy="859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429" y="1536677"/>
            <a:ext cx="2241459" cy="98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64001" y="1328859"/>
            <a:ext cx="1050146" cy="835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5" descr="C:\Users\mfl\AppData\Local\Microsoft\Windows\Temporary Internet Files\Content.IE5\AJ2KHXEK\MP900449121[1]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1191" y="2317325"/>
            <a:ext cx="1690576" cy="794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28676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smtClean="0">
                <a:cs typeface="Arial" pitchFamily="34" charset="0"/>
              </a:rPr>
              <a:t>Fazit</a:t>
            </a:r>
          </a:p>
          <a:p>
            <a:pPr>
              <a:defRPr/>
            </a:pP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Bla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1377499"/>
            <a:ext cx="8344535" cy="4825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 smtClean="0"/>
          </a:p>
          <a:p>
            <a:pPr marL="728663" lvl="1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9425" y="224932"/>
            <a:ext cx="7806395" cy="5823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6817661" y="5740974"/>
            <a:ext cx="1468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>
                <a:latin typeface="Tahoma"/>
                <a:cs typeface="Tahoma"/>
              </a:rPr>
              <a:t>© David </a:t>
            </a:r>
            <a:r>
              <a:rPr lang="de-DE" sz="1400" dirty="0" err="1" smtClean="0">
                <a:latin typeface="Tahoma"/>
                <a:cs typeface="Tahoma"/>
              </a:rPr>
              <a:t>Sipress</a:t>
            </a:r>
            <a:endParaRPr lang="de-DE" sz="1400" dirty="0" smtClean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1642129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1407979"/>
            <a:ext cx="8340725" cy="123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185863" lvl="2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de-DE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29514" y="2141838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400" dirty="0" smtClean="0">
              <a:latin typeface="Tahoma"/>
              <a:cs typeface="Tahoma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85800"/>
            <a:ext cx="9144000" cy="5486400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529718" y="2995714"/>
            <a:ext cx="4584542" cy="600740"/>
          </a:xfrm>
          <a:prstGeom prst="rect">
            <a:avLst/>
          </a:prstGeom>
          <a:solidFill>
            <a:schemeClr val="bg1">
              <a:alpha val="9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90500" dist="25400" dir="2700000">
              <a:srgbClr val="000000">
                <a:alpha val="43000"/>
              </a:srgbClr>
            </a:outerShdw>
          </a:effectLst>
        </p:spPr>
        <p:txBody>
          <a:bodyPr rtlCol="0" anchor="ctr"/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kern="0" dirty="0" smtClean="0">
                <a:latin typeface="Tahoma"/>
                <a:ea typeface="+mn-ea"/>
              </a:rPr>
              <a:t> matthias.fluegge@fokus.fraunhofer.d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ahom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15360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Taking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>
                <a:cs typeface="Arial" pitchFamily="34" charset="0"/>
              </a:rPr>
              <a:t>A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 err="1">
                <a:cs typeface="Arial" pitchFamily="34" charset="0"/>
              </a:rPr>
              <a:t>W</a:t>
            </a:r>
            <a:r>
              <a:rPr lang="de-DE" sz="2000" b="1" dirty="0" err="1" smtClean="0">
                <a:cs typeface="Arial" pitchFamily="34" charset="0"/>
              </a:rPr>
              <a:t>alk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>
                <a:cs typeface="Arial" pitchFamily="34" charset="0"/>
              </a:rPr>
              <a:t>T</a:t>
            </a:r>
            <a:r>
              <a:rPr lang="de-DE" sz="2000" b="1" dirty="0" smtClean="0">
                <a:cs typeface="Arial" pitchFamily="34" charset="0"/>
              </a:rPr>
              <a:t>hrough </a:t>
            </a:r>
            <a:r>
              <a:rPr lang="de-DE" sz="2000" b="1" dirty="0">
                <a:cs typeface="Arial" pitchFamily="34" charset="0"/>
              </a:rPr>
              <a:t>T</a:t>
            </a:r>
            <a:r>
              <a:rPr lang="de-DE" sz="2000" b="1" dirty="0" smtClean="0">
                <a:cs typeface="Arial" pitchFamily="34" charset="0"/>
              </a:rPr>
              <a:t>he </a:t>
            </a:r>
            <a:r>
              <a:rPr lang="de-DE" sz="2000" b="1" dirty="0">
                <a:cs typeface="Arial" pitchFamily="34" charset="0"/>
              </a:rPr>
              <a:t>C</a:t>
            </a:r>
            <a:r>
              <a:rPr lang="de-DE" sz="2000" b="1" dirty="0" smtClean="0">
                <a:cs typeface="Arial" pitchFamily="34" charset="0"/>
              </a:rPr>
              <a:t>ity</a:t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Road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works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ahead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!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58949"/>
            <a:ext cx="9144000" cy="497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7673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Taking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>
                <a:cs typeface="Arial" pitchFamily="34" charset="0"/>
              </a:rPr>
              <a:t>A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 err="1">
                <a:cs typeface="Arial" pitchFamily="34" charset="0"/>
              </a:rPr>
              <a:t>W</a:t>
            </a:r>
            <a:r>
              <a:rPr lang="de-DE" sz="2000" b="1" dirty="0" err="1" smtClean="0">
                <a:cs typeface="Arial" pitchFamily="34" charset="0"/>
              </a:rPr>
              <a:t>alk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>
                <a:cs typeface="Arial" pitchFamily="34" charset="0"/>
              </a:rPr>
              <a:t>T</a:t>
            </a:r>
            <a:r>
              <a:rPr lang="de-DE" sz="2000" b="1" dirty="0" smtClean="0">
                <a:cs typeface="Arial" pitchFamily="34" charset="0"/>
              </a:rPr>
              <a:t>hrough </a:t>
            </a:r>
            <a:r>
              <a:rPr lang="de-DE" sz="2000" b="1" dirty="0">
                <a:cs typeface="Arial" pitchFamily="34" charset="0"/>
              </a:rPr>
              <a:t>T</a:t>
            </a:r>
            <a:r>
              <a:rPr lang="de-DE" sz="2000" b="1" dirty="0" smtClean="0">
                <a:cs typeface="Arial" pitchFamily="34" charset="0"/>
              </a:rPr>
              <a:t>he </a:t>
            </a:r>
            <a:r>
              <a:rPr lang="de-DE" sz="2000" b="1" dirty="0">
                <a:cs typeface="Arial" pitchFamily="34" charset="0"/>
              </a:rPr>
              <a:t>C</a:t>
            </a:r>
            <a:r>
              <a:rPr lang="de-DE" sz="2000" b="1" dirty="0" smtClean="0">
                <a:cs typeface="Arial" pitchFamily="34" charset="0"/>
              </a:rPr>
              <a:t>ity</a:t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Clean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and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tidy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sidewalks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80213"/>
            <a:ext cx="9144000" cy="5018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52077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Taking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>
                <a:cs typeface="Arial" pitchFamily="34" charset="0"/>
              </a:rPr>
              <a:t>A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 err="1">
                <a:cs typeface="Arial" pitchFamily="34" charset="0"/>
              </a:rPr>
              <a:t>W</a:t>
            </a:r>
            <a:r>
              <a:rPr lang="de-DE" sz="2000" b="1" dirty="0" err="1" smtClean="0">
                <a:cs typeface="Arial" pitchFamily="34" charset="0"/>
              </a:rPr>
              <a:t>alk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>
                <a:cs typeface="Arial" pitchFamily="34" charset="0"/>
              </a:rPr>
              <a:t>T</a:t>
            </a:r>
            <a:r>
              <a:rPr lang="de-DE" sz="2000" b="1" dirty="0" smtClean="0">
                <a:cs typeface="Arial" pitchFamily="34" charset="0"/>
              </a:rPr>
              <a:t>hrough </a:t>
            </a:r>
            <a:r>
              <a:rPr lang="de-DE" sz="2000" b="1" dirty="0">
                <a:cs typeface="Arial" pitchFamily="34" charset="0"/>
              </a:rPr>
              <a:t>T</a:t>
            </a:r>
            <a:r>
              <a:rPr lang="de-DE" sz="2000" b="1" dirty="0" smtClean="0">
                <a:cs typeface="Arial" pitchFamily="34" charset="0"/>
              </a:rPr>
              <a:t>he </a:t>
            </a:r>
            <a:r>
              <a:rPr lang="de-DE" sz="2000" b="1" dirty="0">
                <a:cs typeface="Arial" pitchFamily="34" charset="0"/>
              </a:rPr>
              <a:t>C</a:t>
            </a:r>
            <a:r>
              <a:rPr lang="de-DE" sz="2000" b="1" dirty="0" smtClean="0">
                <a:cs typeface="Arial" pitchFamily="34" charset="0"/>
              </a:rPr>
              <a:t>ity</a:t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Mission: </a:t>
            </a:r>
            <a:r>
              <a:rPr lang="de-DE" sz="2000" b="1" dirty="0" err="1">
                <a:solidFill>
                  <a:srgbClr val="008080"/>
                </a:solidFill>
                <a:cs typeface="Arial" pitchFamily="34" charset="0"/>
              </a:rPr>
              <a:t>n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o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emissions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95153"/>
            <a:ext cx="9144000" cy="502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7716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Taking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>
                <a:cs typeface="Arial" pitchFamily="34" charset="0"/>
              </a:rPr>
              <a:t>A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 err="1">
                <a:cs typeface="Arial" pitchFamily="34" charset="0"/>
              </a:rPr>
              <a:t>W</a:t>
            </a:r>
            <a:r>
              <a:rPr lang="de-DE" sz="2000" b="1" dirty="0" err="1" smtClean="0">
                <a:cs typeface="Arial" pitchFamily="34" charset="0"/>
              </a:rPr>
              <a:t>alk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>
                <a:cs typeface="Arial" pitchFamily="34" charset="0"/>
              </a:rPr>
              <a:t>T</a:t>
            </a:r>
            <a:r>
              <a:rPr lang="de-DE" sz="2000" b="1" dirty="0" smtClean="0">
                <a:cs typeface="Arial" pitchFamily="34" charset="0"/>
              </a:rPr>
              <a:t>hrough </a:t>
            </a:r>
            <a:r>
              <a:rPr lang="de-DE" sz="2000" b="1" dirty="0">
                <a:cs typeface="Arial" pitchFamily="34" charset="0"/>
              </a:rPr>
              <a:t>T</a:t>
            </a:r>
            <a:r>
              <a:rPr lang="de-DE" sz="2000" b="1" dirty="0" smtClean="0">
                <a:cs typeface="Arial" pitchFamily="34" charset="0"/>
              </a:rPr>
              <a:t>he </a:t>
            </a:r>
            <a:r>
              <a:rPr lang="de-DE" sz="2000" b="1" dirty="0">
                <a:cs typeface="Arial" pitchFamily="34" charset="0"/>
              </a:rPr>
              <a:t>C</a:t>
            </a:r>
            <a:r>
              <a:rPr lang="de-DE" sz="2000" b="1" dirty="0" smtClean="0">
                <a:cs typeface="Arial" pitchFamily="34" charset="0"/>
              </a:rPr>
              <a:t>ity</a:t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Enough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for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today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- relax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48316"/>
            <a:ext cx="9144000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15547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84521"/>
            <a:ext cx="9144000" cy="5039831"/>
          </a:xfrm>
          <a:prstGeom prst="rect">
            <a:avLst/>
          </a:prstGeom>
        </p:spPr>
      </p:pic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No</a:t>
            </a:r>
            <a:r>
              <a:rPr lang="de-DE" sz="2000" b="1" dirty="0" smtClean="0">
                <a:cs typeface="Arial" pitchFamily="34" charset="0"/>
              </a:rPr>
              <a:t> Smart City…</a:t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…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without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smart </a:t>
            </a:r>
            <a:r>
              <a:rPr lang="de-DE" sz="2000" b="1" dirty="0" err="1">
                <a:solidFill>
                  <a:srgbClr val="008080"/>
                </a:solidFill>
                <a:cs typeface="Arial" pitchFamily="34" charset="0"/>
              </a:rPr>
              <a:t>g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overnment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cxnSp>
        <p:nvCxnSpPr>
          <p:cNvPr id="19" name="Gerade Verbindung 18"/>
          <p:cNvCxnSpPr>
            <a:stCxn id="16" idx="0"/>
            <a:endCxn id="14" idx="3"/>
          </p:cNvCxnSpPr>
          <p:nvPr/>
        </p:nvCxnSpPr>
        <p:spPr>
          <a:xfrm flipH="1" flipV="1">
            <a:off x="2948433" y="2040387"/>
            <a:ext cx="1585350" cy="865017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glow rad="63500">
              <a:schemeClr val="tx1">
                <a:alpha val="40000"/>
              </a:schemeClr>
            </a:glow>
            <a:innerShdw blurRad="114300">
              <a:prstClr val="black"/>
            </a:inn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>
            <a:stCxn id="16" idx="3"/>
            <a:endCxn id="12" idx="2"/>
          </p:cNvCxnSpPr>
          <p:nvPr/>
        </p:nvCxnSpPr>
        <p:spPr>
          <a:xfrm flipV="1">
            <a:off x="6195584" y="2396193"/>
            <a:ext cx="617994" cy="678488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glow rad="63500">
              <a:schemeClr val="tx1">
                <a:alpha val="40000"/>
              </a:schemeClr>
            </a:glow>
            <a:outerShdw blurRad="63500" sx="1000" sy="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>
            <a:stCxn id="16" idx="3"/>
            <a:endCxn id="13" idx="1"/>
          </p:cNvCxnSpPr>
          <p:nvPr/>
        </p:nvCxnSpPr>
        <p:spPr>
          <a:xfrm>
            <a:off x="6195584" y="3074681"/>
            <a:ext cx="661591" cy="33981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glow rad="63500">
              <a:schemeClr val="tx1">
                <a:alpha val="40000"/>
              </a:schemeClr>
            </a:glow>
            <a:outerShdw blurRad="63500" sx="1000" sy="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>
            <a:stCxn id="16" idx="2"/>
            <a:endCxn id="18" idx="0"/>
          </p:cNvCxnSpPr>
          <p:nvPr/>
        </p:nvCxnSpPr>
        <p:spPr>
          <a:xfrm>
            <a:off x="4533783" y="3243958"/>
            <a:ext cx="2847222" cy="1090062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glow rad="63500">
              <a:schemeClr val="tx1">
                <a:alpha val="40000"/>
              </a:schemeClr>
            </a:glow>
            <a:outerShdw blurRad="63500" sx="1000" sy="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>
            <a:stCxn id="16" idx="2"/>
            <a:endCxn id="15" idx="0"/>
          </p:cNvCxnSpPr>
          <p:nvPr/>
        </p:nvCxnSpPr>
        <p:spPr>
          <a:xfrm>
            <a:off x="4533783" y="3243958"/>
            <a:ext cx="176102" cy="957036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glow rad="63500">
              <a:schemeClr val="tx1">
                <a:alpha val="40000"/>
              </a:schemeClr>
            </a:glow>
            <a:outerShdw blurRad="63500" sx="1000" sy="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>
            <a:stCxn id="16" idx="1"/>
            <a:endCxn id="17" idx="0"/>
          </p:cNvCxnSpPr>
          <p:nvPr/>
        </p:nvCxnSpPr>
        <p:spPr>
          <a:xfrm flipH="1">
            <a:off x="2748620" y="3074681"/>
            <a:ext cx="123362" cy="679621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glow rad="63500">
              <a:schemeClr val="tx1">
                <a:alpha val="40000"/>
              </a:schemeClr>
            </a:glow>
            <a:outerShdw blurRad="63500" sx="1000" sy="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>
            <a:stCxn id="16" idx="1"/>
            <a:endCxn id="11" idx="3"/>
          </p:cNvCxnSpPr>
          <p:nvPr/>
        </p:nvCxnSpPr>
        <p:spPr>
          <a:xfrm flipH="1">
            <a:off x="1294972" y="3074681"/>
            <a:ext cx="1577010" cy="423193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glow rad="63500">
              <a:schemeClr val="tx1">
                <a:alpha val="40000"/>
              </a:schemeClr>
            </a:glo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6408370" y="2057639"/>
            <a:ext cx="810415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Energy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6857175" y="3245214"/>
            <a:ext cx="1323183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Environment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336609" y="4200994"/>
            <a:ext cx="746551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Safety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772216" y="4334020"/>
            <a:ext cx="1217577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…</a:t>
            </a:r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and</a:t>
            </a:r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more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528031" y="3328597"/>
            <a:ext cx="766941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Health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2069282" y="1871110"/>
            <a:ext cx="879151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Mobility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871982" y="2905404"/>
            <a:ext cx="3323602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Government</a:t>
            </a:r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/Public Administration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2213056" y="3754302"/>
            <a:ext cx="1071127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Education</a:t>
            </a:r>
            <a:endParaRPr lang="de-DE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448296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/>
        </p:nvSpPr>
        <p:spPr>
          <a:xfrm>
            <a:off x="3753345" y="1866331"/>
            <a:ext cx="5390655" cy="682929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err="1" smtClean="0">
                <a:cs typeface="Arial" pitchFamily="34" charset="0"/>
              </a:rPr>
              <a:t>Government</a:t>
            </a:r>
            <a:r>
              <a:rPr lang="de-DE" sz="2000" b="1" dirty="0" smtClean="0">
                <a:cs typeface="Arial" pitchFamily="34" charset="0"/>
              </a:rPr>
              <a:t> </a:t>
            </a:r>
            <a:r>
              <a:rPr lang="de-DE" sz="2000" b="1" dirty="0" err="1" smtClean="0">
                <a:cs typeface="Arial" pitchFamily="34" charset="0"/>
              </a:rPr>
              <a:t>and</a:t>
            </a:r>
            <a:r>
              <a:rPr lang="de-DE" sz="2000" b="1" dirty="0" smtClean="0">
                <a:cs typeface="Arial" pitchFamily="34" charset="0"/>
              </a:rPr>
              <a:t> Public Administration</a:t>
            </a:r>
            <a:br>
              <a:rPr lang="de-DE" sz="2000" b="1" dirty="0" smtClean="0">
                <a:cs typeface="Arial" pitchFamily="34" charset="0"/>
              </a:rPr>
            </a:b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Obstacle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or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>
                <a:solidFill>
                  <a:srgbClr val="008080"/>
                </a:solidFill>
                <a:cs typeface="Arial" pitchFamily="34" charset="0"/>
              </a:rPr>
              <a:t>e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nabler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for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 smart </a:t>
            </a:r>
            <a:r>
              <a:rPr lang="de-DE" sz="2000" b="1" dirty="0" err="1">
                <a:solidFill>
                  <a:srgbClr val="008080"/>
                </a:solidFill>
                <a:cs typeface="Arial" pitchFamily="34" charset="0"/>
              </a:rPr>
              <a:t>c</a:t>
            </a:r>
            <a:r>
              <a:rPr lang="de-DE" sz="2000" b="1" dirty="0" err="1" smtClean="0">
                <a:solidFill>
                  <a:srgbClr val="008080"/>
                </a:solidFill>
                <a:cs typeface="Arial" pitchFamily="34" charset="0"/>
              </a:rPr>
              <a:t>ities</a:t>
            </a: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?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pic>
        <p:nvPicPr>
          <p:cNvPr id="20" name="Picture 6" descr="http://www.planet-wissen.de/alltag_gesundheit/krankheiten/arbeitssucht/img/intro_arbeit_akten_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688" y="1273213"/>
            <a:ext cx="3552891" cy="266861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feld 22"/>
          <p:cNvSpPr txBox="1"/>
          <p:nvPr/>
        </p:nvSpPr>
        <p:spPr>
          <a:xfrm>
            <a:off x="5196782" y="1924061"/>
            <a:ext cx="25734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dirty="0" err="1" smtClean="0">
                <a:latin typeface="Tahoma"/>
                <a:cs typeface="Tahoma"/>
              </a:rPr>
              <a:t>Permissions</a:t>
            </a:r>
            <a:r>
              <a:rPr lang="de-DE" sz="1600" dirty="0" smtClean="0">
                <a:latin typeface="Tahoma"/>
                <a:cs typeface="Tahoma"/>
              </a:rPr>
              <a:t>, </a:t>
            </a:r>
            <a:r>
              <a:rPr lang="de-DE" sz="1600" dirty="0" err="1" smtClean="0">
                <a:latin typeface="Tahoma"/>
                <a:cs typeface="Tahoma"/>
              </a:rPr>
              <a:t>Applications</a:t>
            </a:r>
            <a:r>
              <a:rPr lang="de-DE" sz="1600" dirty="0" smtClean="0">
                <a:latin typeface="Tahoma"/>
                <a:cs typeface="Tahoma"/>
              </a:rPr>
              <a:t>, </a:t>
            </a:r>
            <a:br>
              <a:rPr lang="de-DE" sz="1600" dirty="0" smtClean="0">
                <a:latin typeface="Tahoma"/>
                <a:cs typeface="Tahoma"/>
              </a:rPr>
            </a:br>
            <a:r>
              <a:rPr lang="de-DE" sz="1600" dirty="0" smtClean="0">
                <a:latin typeface="Tahoma"/>
                <a:cs typeface="Tahoma"/>
              </a:rPr>
              <a:t>Records, Waiting Time…</a:t>
            </a:r>
          </a:p>
        </p:txBody>
      </p:sp>
      <p:sp>
        <p:nvSpPr>
          <p:cNvPr id="24" name="Rechteck 23"/>
          <p:cNvSpPr/>
          <p:nvPr/>
        </p:nvSpPr>
        <p:spPr>
          <a:xfrm rot="10800000">
            <a:off x="0" y="4380931"/>
            <a:ext cx="5390655" cy="682929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121798" y="4430008"/>
            <a:ext cx="40584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dirty="0" smtClean="0">
                <a:latin typeface="Tahoma"/>
                <a:cs typeface="Tahoma"/>
              </a:rPr>
              <a:t>Promotion </a:t>
            </a:r>
            <a:r>
              <a:rPr lang="de-DE" sz="1600" dirty="0" err="1" smtClean="0">
                <a:latin typeface="Tahoma"/>
                <a:cs typeface="Tahoma"/>
              </a:rPr>
              <a:t>of</a:t>
            </a:r>
            <a:r>
              <a:rPr lang="de-DE" sz="1600" dirty="0" smtClean="0">
                <a:latin typeface="Tahoma"/>
                <a:cs typeface="Tahoma"/>
              </a:rPr>
              <a:t> </a:t>
            </a:r>
            <a:r>
              <a:rPr lang="de-DE" sz="1600" dirty="0" err="1" smtClean="0">
                <a:latin typeface="Tahoma"/>
                <a:cs typeface="Tahoma"/>
              </a:rPr>
              <a:t>Economic</a:t>
            </a:r>
            <a:r>
              <a:rPr lang="de-DE" sz="1600" dirty="0" smtClean="0">
                <a:latin typeface="Tahoma"/>
                <a:cs typeface="Tahoma"/>
              </a:rPr>
              <a:t> Development,</a:t>
            </a:r>
          </a:p>
          <a:p>
            <a:pPr algn="ctr"/>
            <a:r>
              <a:rPr lang="de-DE" sz="1600" dirty="0" smtClean="0">
                <a:latin typeface="Tahoma"/>
                <a:cs typeface="Tahoma"/>
              </a:rPr>
              <a:t>New </a:t>
            </a:r>
            <a:r>
              <a:rPr lang="de-DE" sz="1600" dirty="0" err="1" smtClean="0">
                <a:latin typeface="Tahoma"/>
                <a:cs typeface="Tahoma"/>
              </a:rPr>
              <a:t>Infrastructures</a:t>
            </a:r>
            <a:r>
              <a:rPr lang="de-DE" sz="1600" dirty="0" smtClean="0">
                <a:latin typeface="Tahoma"/>
                <a:cs typeface="Tahoma"/>
              </a:rPr>
              <a:t>, </a:t>
            </a:r>
            <a:r>
              <a:rPr lang="de-DE" sz="1600" dirty="0" err="1" smtClean="0">
                <a:latin typeface="Tahoma"/>
                <a:cs typeface="Tahoma"/>
              </a:rPr>
              <a:t>Citizen</a:t>
            </a:r>
            <a:r>
              <a:rPr lang="de-DE" sz="1600" dirty="0" smtClean="0">
                <a:latin typeface="Tahoma"/>
                <a:cs typeface="Tahoma"/>
              </a:rPr>
              <a:t> </a:t>
            </a:r>
            <a:r>
              <a:rPr lang="de-DE" sz="1600" dirty="0" err="1" smtClean="0">
                <a:latin typeface="Tahoma"/>
                <a:cs typeface="Tahoma"/>
              </a:rPr>
              <a:t>Participation</a:t>
            </a:r>
            <a:r>
              <a:rPr lang="de-DE" sz="1600" dirty="0" smtClean="0">
                <a:latin typeface="Tahoma"/>
                <a:cs typeface="Tahoma"/>
              </a:rPr>
              <a:t>…</a:t>
            </a:r>
          </a:p>
        </p:txBody>
      </p:sp>
      <p:pic>
        <p:nvPicPr>
          <p:cNvPr id="19" name="Picture 4" descr="http://www.gemalto.com/govt/sealys/images/national_id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05352" y="3573799"/>
            <a:ext cx="3893326" cy="213349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://upload.wikimedia.org/wikipedia/commons/1/13/Facebook_like_thumb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7072" y="3868014"/>
            <a:ext cx="1395582" cy="1195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http://upload.wikimedia.org/wikipedia/commons/1/13/Facebook_like_thumb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3609770" y="1866331"/>
            <a:ext cx="1395582" cy="1195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8622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6" descr="http://webciety.de/wp-content/uploads/2010/02/egov2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6095" y="2444934"/>
            <a:ext cx="1600200" cy="81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395288" y="382588"/>
            <a:ext cx="8625144" cy="91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2000" b="1" dirty="0" smtClean="0">
                <a:cs typeface="Arial" pitchFamily="34" charset="0"/>
              </a:rPr>
              <a:t>ICT </a:t>
            </a:r>
            <a:r>
              <a:rPr lang="de-DE" sz="2000" b="1" dirty="0" err="1" smtClean="0">
                <a:cs typeface="Arial" pitchFamily="34" charset="0"/>
              </a:rPr>
              <a:t>for</a:t>
            </a:r>
            <a:r>
              <a:rPr lang="de-DE" sz="2000" b="1" dirty="0" smtClean="0">
                <a:cs typeface="Arial" pitchFamily="34" charset="0"/>
              </a:rPr>
              <a:t> Modern </a:t>
            </a:r>
            <a:r>
              <a:rPr lang="de-DE" sz="2000" b="1" dirty="0" err="1" smtClean="0">
                <a:cs typeface="Arial" pitchFamily="34" charset="0"/>
              </a:rPr>
              <a:t>Government</a:t>
            </a:r>
            <a:endParaRPr lang="de-DE" sz="2000" b="1" dirty="0" smtClean="0">
              <a:cs typeface="Arial" pitchFamily="34" charset="0"/>
            </a:endParaRPr>
          </a:p>
          <a:p>
            <a:pPr>
              <a:defRPr/>
            </a:pPr>
            <a:r>
              <a:rPr lang="de-DE" sz="2000" b="1" dirty="0" smtClean="0">
                <a:solidFill>
                  <a:srgbClr val="008080"/>
                </a:solidFill>
                <a:cs typeface="Arial" pitchFamily="34" charset="0"/>
              </a:rPr>
              <a:t>National initiatives</a:t>
            </a:r>
            <a:endParaRPr lang="de-DE" sz="2000" b="1" dirty="0">
              <a:solidFill>
                <a:srgbClr val="008080"/>
              </a:solidFill>
              <a:cs typeface="Arial" pitchFamily="34" charset="0"/>
            </a:endParaRP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1207223272"/>
              </p:ext>
            </p:extLst>
          </p:nvPr>
        </p:nvGraphicFramePr>
        <p:xfrm>
          <a:off x="1310640" y="2006600"/>
          <a:ext cx="708279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5" name="Picture 7" descr="BundOnline200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925"/>
          <a:stretch>
            <a:fillRect/>
          </a:stretch>
        </p:blipFill>
        <p:spPr bwMode="auto">
          <a:xfrm>
            <a:off x="470153" y="3996973"/>
            <a:ext cx="1552575" cy="1173163"/>
          </a:xfrm>
          <a:prstGeom prst="rect">
            <a:avLst/>
          </a:prstGeom>
          <a:noFill/>
        </p:spPr>
      </p:pic>
      <p:pic>
        <p:nvPicPr>
          <p:cNvPr id="16" name="Picture 4" descr="DeutschlandOnline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2728" y="3033277"/>
            <a:ext cx="827087" cy="12033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Gruppieren 17"/>
          <p:cNvGrpSpPr/>
          <p:nvPr/>
        </p:nvGrpSpPr>
        <p:grpSpPr>
          <a:xfrm>
            <a:off x="5050196" y="1715704"/>
            <a:ext cx="1319904" cy="1156935"/>
            <a:chOff x="6379983" y="2823360"/>
            <a:chExt cx="1319904" cy="1156935"/>
          </a:xfrm>
        </p:grpSpPr>
        <p:pic>
          <p:nvPicPr>
            <p:cNvPr id="19" name="Picture 4" descr="http://e-konsultation.de/opengov/sites/default/files/news/it_planungsrat_0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9983" y="2823360"/>
              <a:ext cx="1319904" cy="8799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feld 19"/>
            <p:cNvSpPr txBox="1"/>
            <p:nvPr/>
          </p:nvSpPr>
          <p:spPr>
            <a:xfrm>
              <a:off x="6546852" y="3426297"/>
              <a:ext cx="986167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i="1" dirty="0" smtClean="0">
                  <a:latin typeface="Tahoma"/>
                  <a:cs typeface="Tahoma"/>
                </a:rPr>
                <a:t>Nationale </a:t>
              </a:r>
              <a:br>
                <a:rPr lang="de-DE" sz="1000" i="1" dirty="0" smtClean="0">
                  <a:latin typeface="Tahoma"/>
                  <a:cs typeface="Tahoma"/>
                </a:rPr>
              </a:br>
              <a:r>
                <a:rPr lang="de-DE" sz="1000" i="1" dirty="0" err="1" smtClean="0">
                  <a:latin typeface="Tahoma"/>
                  <a:cs typeface="Tahoma"/>
                </a:rPr>
                <a:t>eGovernment</a:t>
              </a:r>
              <a:r>
                <a:rPr lang="de-DE" sz="1000" i="1" dirty="0" smtClean="0">
                  <a:latin typeface="Tahoma"/>
                  <a:cs typeface="Tahoma"/>
                </a:rPr>
                <a:t> </a:t>
              </a:r>
              <a:br>
                <a:rPr lang="de-DE" sz="1000" i="1" dirty="0" smtClean="0">
                  <a:latin typeface="Tahoma"/>
                  <a:cs typeface="Tahoma"/>
                </a:rPr>
              </a:br>
              <a:r>
                <a:rPr lang="de-DE" sz="1000" i="1" dirty="0" smtClean="0">
                  <a:latin typeface="Tahoma"/>
                  <a:cs typeface="Tahoma"/>
                </a:rPr>
                <a:t>Strategie</a:t>
              </a:r>
            </a:p>
          </p:txBody>
        </p:sp>
      </p:grpSp>
      <p:sp>
        <p:nvSpPr>
          <p:cNvPr id="3" name="Rectangle 26"/>
          <p:cNvSpPr>
            <a:spLocks noChangeArrowheads="1"/>
          </p:cNvSpPr>
          <p:nvPr/>
        </p:nvSpPr>
        <p:spPr bwMode="auto">
          <a:xfrm>
            <a:off x="479425" y="1407979"/>
            <a:ext cx="8340725" cy="123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r>
              <a:rPr lang="de-DE" sz="1600" dirty="0" err="1" smtClean="0">
                <a:solidFill>
                  <a:srgbClr val="000000"/>
                </a:solidFill>
                <a:cs typeface="Arial" pitchFamily="34" charset="0"/>
              </a:rPr>
              <a:t>eGovernment</a:t>
            </a:r>
            <a:r>
              <a:rPr lang="de-DE" sz="1600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de-DE" sz="1600" dirty="0" err="1" smtClean="0">
                <a:solidFill>
                  <a:srgbClr val="000000"/>
                </a:solidFill>
                <a:cs typeface="Arial" pitchFamily="34" charset="0"/>
              </a:rPr>
              <a:t>Use</a:t>
            </a:r>
            <a:r>
              <a:rPr lang="de-DE" sz="16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de-DE" sz="1600" dirty="0" err="1" smtClean="0">
                <a:solidFill>
                  <a:srgbClr val="000000"/>
                </a:solidFill>
                <a:cs typeface="Arial" pitchFamily="34" charset="0"/>
              </a:rPr>
              <a:t>of</a:t>
            </a:r>
            <a:r>
              <a:rPr lang="de-DE" sz="16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600" dirty="0" smtClean="0"/>
              <a:t>Information </a:t>
            </a:r>
            <a:r>
              <a:rPr lang="en-US" sz="1600" dirty="0"/>
              <a:t>and communication </a:t>
            </a:r>
            <a:r>
              <a:rPr lang="en-US" sz="1600" dirty="0" smtClean="0"/>
              <a:t>technologies (ICT), </a:t>
            </a:r>
            <a:r>
              <a:rPr lang="en-US" sz="1600" dirty="0"/>
              <a:t>and particularly the Internet, as a tool to achieve </a:t>
            </a:r>
            <a:r>
              <a:rPr lang="en-US" sz="1600" dirty="0" smtClean="0"/>
              <a:t>better government</a:t>
            </a:r>
            <a:endParaRPr lang="de-DE" sz="1600" dirty="0">
              <a:solidFill>
                <a:srgbClr val="000000"/>
              </a:solidFill>
              <a:cs typeface="Arial" pitchFamily="34" charset="0"/>
            </a:endParaRPr>
          </a:p>
          <a:p>
            <a:pPr marL="271463" indent="-271463">
              <a:spcAft>
                <a:spcPct val="40000"/>
              </a:spcAft>
              <a:buClr>
                <a:srgbClr val="21AB80"/>
              </a:buClr>
              <a:buFont typeface="Wingdings" pitchFamily="2" charset="2"/>
              <a:buChar char="n"/>
              <a:defRPr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369071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eWTYgNqEO9NLrcs.1r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YheDZN.0.EZGUSKv7x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9i21iIwUOWVUXViUbYFQ"/>
</p:tagLst>
</file>

<file path=ppt/theme/theme1.xml><?xml version="1.0" encoding="utf-8"?>
<a:theme xmlns:a="http://schemas.openxmlformats.org/drawingml/2006/main" name="FOKUS">
  <a:themeElements>
    <a:clrScheme name="Benutzerdefiniert 7">
      <a:dk1>
        <a:sysClr val="windowText" lastClr="000000"/>
      </a:dk1>
      <a:lt1>
        <a:sysClr val="window" lastClr="FFFFFF"/>
      </a:lt1>
      <a:dk2>
        <a:srgbClr val="009EE0"/>
      </a:dk2>
      <a:lt2>
        <a:srgbClr val="009475"/>
      </a:lt2>
      <a:accent1>
        <a:srgbClr val="6FA93B"/>
      </a:accent1>
      <a:accent2>
        <a:srgbClr val="FFC900"/>
      </a:accent2>
      <a:accent3>
        <a:srgbClr val="FF8F00"/>
      </a:accent3>
      <a:accent4>
        <a:srgbClr val="CC1F2F"/>
      </a:accent4>
      <a:accent5>
        <a:srgbClr val="9B348E"/>
      </a:accent5>
      <a:accent6>
        <a:srgbClr val="2F53A7"/>
      </a:accent6>
      <a:hlink>
        <a:srgbClr val="009EE0"/>
      </a:hlink>
      <a:folHlink>
        <a:srgbClr val="7FC600"/>
      </a:folHlink>
    </a:clrScheme>
    <a:fontScheme name="Thaumas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 cap="flat" cmpd="sng" algn="ctr">
          <a:solidFill>
            <a:srgbClr val="17A57D"/>
          </a:solidFill>
          <a:prstDash val="solid"/>
          <a:round/>
          <a:headEnd type="none" w="med" len="med"/>
          <a:tailEnd type="none" w="med" len="med"/>
        </a:ln>
        <a:effectLst>
          <a:outerShdw blurRad="190500" dist="25400" dir="2700000">
            <a:srgbClr val="000000">
              <a:alpha val="43000"/>
            </a:srgbClr>
          </a:outerShdw>
        </a:effectLst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latin typeface="Tahoma"/>
            <a:cs typeface="Tahoma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9_FOKUS">
  <a:themeElements>
    <a:clrScheme name="Benutzerdefiniert 8">
      <a:dk1>
        <a:sysClr val="windowText" lastClr="000000"/>
      </a:dk1>
      <a:lt1>
        <a:sysClr val="window" lastClr="FFFFFF"/>
      </a:lt1>
      <a:dk2>
        <a:srgbClr val="00ACD3"/>
      </a:dk2>
      <a:lt2>
        <a:srgbClr val="17A57D"/>
      </a:lt2>
      <a:accent1>
        <a:srgbClr val="6FA93B"/>
      </a:accent1>
      <a:accent2>
        <a:srgbClr val="FABB00"/>
      </a:accent2>
      <a:accent3>
        <a:srgbClr val="F08A00"/>
      </a:accent3>
      <a:accent4>
        <a:srgbClr val="D4021D"/>
      </a:accent4>
      <a:accent5>
        <a:srgbClr val="8E026C"/>
      </a:accent5>
      <a:accent6>
        <a:srgbClr val="114594"/>
      </a:accent6>
      <a:hlink>
        <a:srgbClr val="00ACD3"/>
      </a:hlink>
      <a:folHlink>
        <a:srgbClr val="6FA93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10_FOKUS">
  <a:themeElements>
    <a:clrScheme name="Benutzerdefiniert 8">
      <a:dk1>
        <a:sysClr val="windowText" lastClr="000000"/>
      </a:dk1>
      <a:lt1>
        <a:sysClr val="window" lastClr="FFFFFF"/>
      </a:lt1>
      <a:dk2>
        <a:srgbClr val="00ACD3"/>
      </a:dk2>
      <a:lt2>
        <a:srgbClr val="17A57D"/>
      </a:lt2>
      <a:accent1>
        <a:srgbClr val="6FA93B"/>
      </a:accent1>
      <a:accent2>
        <a:srgbClr val="FABB00"/>
      </a:accent2>
      <a:accent3>
        <a:srgbClr val="F08A00"/>
      </a:accent3>
      <a:accent4>
        <a:srgbClr val="D4021D"/>
      </a:accent4>
      <a:accent5>
        <a:srgbClr val="8E026C"/>
      </a:accent5>
      <a:accent6>
        <a:srgbClr val="114594"/>
      </a:accent6>
      <a:hlink>
        <a:srgbClr val="00ACD3"/>
      </a:hlink>
      <a:folHlink>
        <a:srgbClr val="6FA93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1_FOKUS">
  <a:themeElements>
    <a:clrScheme name="Benutzerdefiniert 8">
      <a:dk1>
        <a:sysClr val="windowText" lastClr="000000"/>
      </a:dk1>
      <a:lt1>
        <a:sysClr val="window" lastClr="FFFFFF"/>
      </a:lt1>
      <a:dk2>
        <a:srgbClr val="00ACD3"/>
      </a:dk2>
      <a:lt2>
        <a:srgbClr val="17A57D"/>
      </a:lt2>
      <a:accent1>
        <a:srgbClr val="6FA93B"/>
      </a:accent1>
      <a:accent2>
        <a:srgbClr val="FABB00"/>
      </a:accent2>
      <a:accent3>
        <a:srgbClr val="F08A00"/>
      </a:accent3>
      <a:accent4>
        <a:srgbClr val="D4021D"/>
      </a:accent4>
      <a:accent5>
        <a:srgbClr val="8E026C"/>
      </a:accent5>
      <a:accent6>
        <a:srgbClr val="114594"/>
      </a:accent6>
      <a:hlink>
        <a:srgbClr val="00ACD3"/>
      </a:hlink>
      <a:folHlink>
        <a:srgbClr val="6FA93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2_FOKUS">
  <a:themeElements>
    <a:clrScheme name="Benutzerdefiniert 8">
      <a:dk1>
        <a:sysClr val="windowText" lastClr="000000"/>
      </a:dk1>
      <a:lt1>
        <a:sysClr val="window" lastClr="FFFFFF"/>
      </a:lt1>
      <a:dk2>
        <a:srgbClr val="00ACD3"/>
      </a:dk2>
      <a:lt2>
        <a:srgbClr val="17A57D"/>
      </a:lt2>
      <a:accent1>
        <a:srgbClr val="6FA93B"/>
      </a:accent1>
      <a:accent2>
        <a:srgbClr val="FABB00"/>
      </a:accent2>
      <a:accent3>
        <a:srgbClr val="F08A00"/>
      </a:accent3>
      <a:accent4>
        <a:srgbClr val="D4021D"/>
      </a:accent4>
      <a:accent5>
        <a:srgbClr val="8E026C"/>
      </a:accent5>
      <a:accent6>
        <a:srgbClr val="114594"/>
      </a:accent6>
      <a:hlink>
        <a:srgbClr val="00ACD3"/>
      </a:hlink>
      <a:folHlink>
        <a:srgbClr val="6FA93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FOKUS">
  <a:themeElements>
    <a:clrScheme name="Benutzerdefiniert 1">
      <a:dk1>
        <a:sysClr val="windowText" lastClr="000000"/>
      </a:dk1>
      <a:lt1>
        <a:sysClr val="window" lastClr="FFFFFF"/>
      </a:lt1>
      <a:dk2>
        <a:srgbClr val="CCCCCC"/>
      </a:dk2>
      <a:lt2>
        <a:srgbClr val="7FC600"/>
      </a:lt2>
      <a:accent1>
        <a:srgbClr val="17A57D"/>
      </a:accent1>
      <a:accent2>
        <a:srgbClr val="FFC900"/>
      </a:accent2>
      <a:accent3>
        <a:srgbClr val="FF8F00"/>
      </a:accent3>
      <a:accent4>
        <a:srgbClr val="CC1F2F"/>
      </a:accent4>
      <a:accent5>
        <a:srgbClr val="9B348E"/>
      </a:accent5>
      <a:accent6>
        <a:srgbClr val="2F53A7"/>
      </a:accent6>
      <a:hlink>
        <a:srgbClr val="00ACD3"/>
      </a:hlink>
      <a:folHlink>
        <a:srgbClr val="7FC6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FOKUS">
  <a:themeElements>
    <a:clrScheme name="Benutzerdefiniert 2">
      <a:dk1>
        <a:sysClr val="windowText" lastClr="000000"/>
      </a:dk1>
      <a:lt1>
        <a:sysClr val="window" lastClr="FFFFFF"/>
      </a:lt1>
      <a:dk2>
        <a:srgbClr val="CCCCCC"/>
      </a:dk2>
      <a:lt2>
        <a:srgbClr val="17A57D"/>
      </a:lt2>
      <a:accent1>
        <a:srgbClr val="7FC600"/>
      </a:accent1>
      <a:accent2>
        <a:srgbClr val="FFC900"/>
      </a:accent2>
      <a:accent3>
        <a:srgbClr val="FF8F00"/>
      </a:accent3>
      <a:accent4>
        <a:srgbClr val="CC1F2F"/>
      </a:accent4>
      <a:accent5>
        <a:srgbClr val="9B348E"/>
      </a:accent5>
      <a:accent6>
        <a:srgbClr val="2F53A7"/>
      </a:accent6>
      <a:hlink>
        <a:srgbClr val="00ACD3"/>
      </a:hlink>
      <a:folHlink>
        <a:srgbClr val="7FC6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FOKUS">
  <a:themeElements>
    <a:clrScheme name="Benutzerdefiniert 2">
      <a:dk1>
        <a:sysClr val="windowText" lastClr="000000"/>
      </a:dk1>
      <a:lt1>
        <a:sysClr val="window" lastClr="FFFFFF"/>
      </a:lt1>
      <a:dk2>
        <a:srgbClr val="CCCCCC"/>
      </a:dk2>
      <a:lt2>
        <a:srgbClr val="17A57D"/>
      </a:lt2>
      <a:accent1>
        <a:srgbClr val="7FC600"/>
      </a:accent1>
      <a:accent2>
        <a:srgbClr val="FFC900"/>
      </a:accent2>
      <a:accent3>
        <a:srgbClr val="FF8F00"/>
      </a:accent3>
      <a:accent4>
        <a:srgbClr val="CC1F2F"/>
      </a:accent4>
      <a:accent5>
        <a:srgbClr val="9B348E"/>
      </a:accent5>
      <a:accent6>
        <a:srgbClr val="2F53A7"/>
      </a:accent6>
      <a:hlink>
        <a:srgbClr val="00ACD3"/>
      </a:hlink>
      <a:folHlink>
        <a:srgbClr val="7FC6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7_FOKUS">
  <a:themeElements>
    <a:clrScheme name="Benutzerdefiniert 1">
      <a:dk1>
        <a:sysClr val="windowText" lastClr="000000"/>
      </a:dk1>
      <a:lt1>
        <a:sysClr val="window" lastClr="FFFFFF"/>
      </a:lt1>
      <a:dk2>
        <a:srgbClr val="CCCCCC"/>
      </a:dk2>
      <a:lt2>
        <a:srgbClr val="7FC600"/>
      </a:lt2>
      <a:accent1>
        <a:srgbClr val="17A57D"/>
      </a:accent1>
      <a:accent2>
        <a:srgbClr val="FFC900"/>
      </a:accent2>
      <a:accent3>
        <a:srgbClr val="FF8F00"/>
      </a:accent3>
      <a:accent4>
        <a:srgbClr val="CC1F2F"/>
      </a:accent4>
      <a:accent5>
        <a:srgbClr val="9B348E"/>
      </a:accent5>
      <a:accent6>
        <a:srgbClr val="2F53A7"/>
      </a:accent6>
      <a:hlink>
        <a:srgbClr val="00ACD3"/>
      </a:hlink>
      <a:folHlink>
        <a:srgbClr val="7FC6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FOKUS">
  <a:themeElements>
    <a:clrScheme name="FOKUS CC 1">
      <a:dk1>
        <a:sysClr val="windowText" lastClr="000000"/>
      </a:dk1>
      <a:lt1>
        <a:sysClr val="window" lastClr="FFFFFF"/>
      </a:lt1>
      <a:dk2>
        <a:srgbClr val="CCCCCC"/>
      </a:dk2>
      <a:lt2>
        <a:srgbClr val="17A57D"/>
      </a:lt2>
      <a:accent1>
        <a:srgbClr val="7FC600"/>
      </a:accent1>
      <a:accent2>
        <a:srgbClr val="FFC900"/>
      </a:accent2>
      <a:accent3>
        <a:srgbClr val="FF8F00"/>
      </a:accent3>
      <a:accent4>
        <a:srgbClr val="CC1F2F"/>
      </a:accent4>
      <a:accent5>
        <a:srgbClr val="9B348E"/>
      </a:accent5>
      <a:accent6>
        <a:srgbClr val="2F53A7"/>
      </a:accent6>
      <a:hlink>
        <a:srgbClr val="00ACD3"/>
      </a:hlink>
      <a:folHlink>
        <a:srgbClr val="7FC6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5_FOKUS">
  <a:themeElements>
    <a:clrScheme name="Benutzerdefiniert 2">
      <a:dk1>
        <a:sysClr val="windowText" lastClr="000000"/>
      </a:dk1>
      <a:lt1>
        <a:sysClr val="window" lastClr="FFFFFF"/>
      </a:lt1>
      <a:dk2>
        <a:srgbClr val="00ACD3"/>
      </a:dk2>
      <a:lt2>
        <a:srgbClr val="17A57D"/>
      </a:lt2>
      <a:accent1>
        <a:srgbClr val="7FC600"/>
      </a:accent1>
      <a:accent2>
        <a:srgbClr val="FFC900"/>
      </a:accent2>
      <a:accent3>
        <a:srgbClr val="FF8F00"/>
      </a:accent3>
      <a:accent4>
        <a:srgbClr val="CC1F2F"/>
      </a:accent4>
      <a:accent5>
        <a:srgbClr val="9B348E"/>
      </a:accent5>
      <a:accent6>
        <a:srgbClr val="2F53A7"/>
      </a:accent6>
      <a:hlink>
        <a:srgbClr val="00ACD3"/>
      </a:hlink>
      <a:folHlink>
        <a:srgbClr val="7FC600"/>
      </a:folHlink>
    </a:clrScheme>
    <a:fontScheme name="Thaumas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6_FOKUS">
  <a:themeElements>
    <a:clrScheme name="Benutzerdefiniert 8">
      <a:dk1>
        <a:sysClr val="windowText" lastClr="000000"/>
      </a:dk1>
      <a:lt1>
        <a:sysClr val="window" lastClr="FFFFFF"/>
      </a:lt1>
      <a:dk2>
        <a:srgbClr val="00ACD3"/>
      </a:dk2>
      <a:lt2>
        <a:srgbClr val="17A57D"/>
      </a:lt2>
      <a:accent1>
        <a:srgbClr val="6FA93B"/>
      </a:accent1>
      <a:accent2>
        <a:srgbClr val="FABB00"/>
      </a:accent2>
      <a:accent3>
        <a:srgbClr val="F08A00"/>
      </a:accent3>
      <a:accent4>
        <a:srgbClr val="D4021D"/>
      </a:accent4>
      <a:accent5>
        <a:srgbClr val="8E026C"/>
      </a:accent5>
      <a:accent6>
        <a:srgbClr val="114594"/>
      </a:accent6>
      <a:hlink>
        <a:srgbClr val="00ACD3"/>
      </a:hlink>
      <a:folHlink>
        <a:srgbClr val="6FA93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8_FOKUS">
  <a:themeElements>
    <a:clrScheme name="Benutzerdefiniert 8">
      <a:dk1>
        <a:sysClr val="windowText" lastClr="000000"/>
      </a:dk1>
      <a:lt1>
        <a:sysClr val="window" lastClr="FFFFFF"/>
      </a:lt1>
      <a:dk2>
        <a:srgbClr val="00ACD3"/>
      </a:dk2>
      <a:lt2>
        <a:srgbClr val="17A57D"/>
      </a:lt2>
      <a:accent1>
        <a:srgbClr val="6FA93B"/>
      </a:accent1>
      <a:accent2>
        <a:srgbClr val="FABB00"/>
      </a:accent2>
      <a:accent3>
        <a:srgbClr val="F08A00"/>
      </a:accent3>
      <a:accent4>
        <a:srgbClr val="D4021D"/>
      </a:accent4>
      <a:accent5>
        <a:srgbClr val="8E026C"/>
      </a:accent5>
      <a:accent6>
        <a:srgbClr val="114594"/>
      </a:accent6>
      <a:hlink>
        <a:srgbClr val="00ACD3"/>
      </a:hlink>
      <a:folHlink>
        <a:srgbClr val="6FA93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DDDDD"/>
        </a:solidFill>
        <a:ln w="9525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3</Words>
  <Application>Microsoft Office PowerPoint</Application>
  <PresentationFormat>Bildschirmpräsentation (4:3)</PresentationFormat>
  <Paragraphs>229</Paragraphs>
  <Slides>25</Slides>
  <Notes>25</Notes>
  <HiddenSlides>0</HiddenSlides>
  <MMClips>0</MMClips>
  <ScaleCrop>false</ScaleCrop>
  <HeadingPairs>
    <vt:vector size="4" baseType="variant">
      <vt:variant>
        <vt:lpstr>Design</vt:lpstr>
      </vt:variant>
      <vt:variant>
        <vt:i4>13</vt:i4>
      </vt:variant>
      <vt:variant>
        <vt:lpstr>Folientitel</vt:lpstr>
      </vt:variant>
      <vt:variant>
        <vt:i4>25</vt:i4>
      </vt:variant>
    </vt:vector>
  </HeadingPairs>
  <TitlesOfParts>
    <vt:vector size="38" baseType="lpstr">
      <vt:lpstr>FOKUS</vt:lpstr>
      <vt:lpstr>1_FOKUS</vt:lpstr>
      <vt:lpstr>2_FOKUS</vt:lpstr>
      <vt:lpstr>3_FOKUS</vt:lpstr>
      <vt:lpstr>7_FOKUS</vt:lpstr>
      <vt:lpstr>4_FOKUS</vt:lpstr>
      <vt:lpstr>5_FOKUS</vt:lpstr>
      <vt:lpstr>6_FOKUS</vt:lpstr>
      <vt:lpstr>8_FOKUS</vt:lpstr>
      <vt:lpstr>9_FOKUS</vt:lpstr>
      <vt:lpstr>10_FOKUS</vt:lpstr>
      <vt:lpstr>11_FOKUS</vt:lpstr>
      <vt:lpstr>12_FOKUS</vt:lpstr>
      <vt:lpstr>No Smart City without Smart Govern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Foku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imone Geppert</dc:creator>
  <cp:lastModifiedBy>Muenchner Kreis Office</cp:lastModifiedBy>
  <cp:revision>695</cp:revision>
  <cp:lastPrinted>2013-09-04T13:30:51Z</cp:lastPrinted>
  <dcterms:created xsi:type="dcterms:W3CDTF">2010-09-09T08:39:57Z</dcterms:created>
  <dcterms:modified xsi:type="dcterms:W3CDTF">2013-09-09T06:52:42Z</dcterms:modified>
</cp:coreProperties>
</file>